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3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4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9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0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1.xml" ContentType="application/vnd.openxmlformats-officedocument.presentationml.notesSlide+xml"/>
  <Override PartName="/ppt/tags/tag95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6.xml" ContentType="application/vnd.openxmlformats-officedocument.presentationml.tags+xml"/>
  <Override PartName="/ppt/notesSlides/notesSlide23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58" r:id="rId2"/>
    <p:sldId id="260" r:id="rId3"/>
    <p:sldId id="257" r:id="rId4"/>
    <p:sldId id="261" r:id="rId5"/>
    <p:sldId id="300" r:id="rId6"/>
    <p:sldId id="262" r:id="rId7"/>
    <p:sldId id="297" r:id="rId8"/>
    <p:sldId id="298" r:id="rId9"/>
    <p:sldId id="299" r:id="rId10"/>
    <p:sldId id="263" r:id="rId11"/>
    <p:sldId id="296" r:id="rId12"/>
    <p:sldId id="301" r:id="rId13"/>
    <p:sldId id="264" r:id="rId14"/>
    <p:sldId id="302" r:id="rId15"/>
    <p:sldId id="303" r:id="rId16"/>
    <p:sldId id="304" r:id="rId17"/>
    <p:sldId id="305" r:id="rId18"/>
    <p:sldId id="271" r:id="rId19"/>
    <p:sldId id="291" r:id="rId20"/>
    <p:sldId id="292" r:id="rId21"/>
    <p:sldId id="293" r:id="rId22"/>
    <p:sldId id="273" r:id="rId23"/>
    <p:sldId id="287" r:id="rId24"/>
    <p:sldId id="288" r:id="rId25"/>
    <p:sldId id="308" r:id="rId26"/>
    <p:sldId id="306" r:id="rId27"/>
    <p:sldId id="275" r:id="rId28"/>
  </p:sldIdLst>
  <p:sldSz cx="9144000" cy="6858000" type="screen4x3"/>
  <p:notesSz cx="6858000" cy="9144000"/>
  <p:custDataLst>
    <p:tags r:id="rId30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510" y="126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sespitia\AppData\Local\Temp\Socy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21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2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rincon\AppData\Local\Microsoft\Windows\Temporary%20Internet%20Files\Content.Outlook\FCD1QYEU\Historico%20UTFC-DRACOL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200" b="1" noProof="0" dirty="0"/>
              <a:t>Avance</a:t>
            </a:r>
            <a:r>
              <a:rPr lang="en-US" sz="1200" b="1" dirty="0"/>
              <a:t> </a:t>
            </a:r>
            <a:r>
              <a:rPr lang="es-CO" sz="1200" b="1" noProof="0" dirty="0"/>
              <a:t>en</a:t>
            </a:r>
            <a:r>
              <a:rPr lang="en-US" sz="1200" b="1" dirty="0"/>
              <a:t> </a:t>
            </a:r>
            <a:r>
              <a:rPr lang="en-US" sz="1200" b="1" dirty="0" err="1"/>
              <a:t>Reasentamiento</a:t>
            </a:r>
            <a:r>
              <a:rPr lang="en-US" sz="1200" b="1" dirty="0"/>
              <a:t> </a:t>
            </a:r>
            <a:r>
              <a:rPr lang="en-US" sz="1200" b="1" dirty="0" err="1"/>
              <a:t>Sitio</a:t>
            </a:r>
            <a:r>
              <a:rPr lang="en-US" sz="1200" b="1" dirty="0"/>
              <a:t> </a:t>
            </a:r>
            <a:r>
              <a:rPr lang="en-US" sz="1200" b="1" dirty="0" err="1"/>
              <a:t>Propio</a:t>
            </a:r>
            <a:endParaRPr lang="en-US" sz="12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3409645380230555E-2"/>
          <c:y val="0.1711111111111111"/>
          <c:w val="0.89484292437013668"/>
          <c:h val="0.52006769843424749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7A7-48ED-B793-AE75C28DA32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7A7-48ED-B793-AE75C28DA32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7A7-48ED-B793-AE75C28DA32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7A7-48ED-B793-AE75C28DA32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7A7-48ED-B793-AE75C28DA32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7A7-48ED-B793-AE75C28DA328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7A7-48ED-B793-AE75C28DA3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4:$C$11</c:f>
              <c:multiLvlStrCache>
                <c:ptCount val="8"/>
                <c:lvl>
                  <c:pt idx="0">
                    <c:v>Predios legalizados</c:v>
                  </c:pt>
                  <c:pt idx="1">
                    <c:v>predios proceso de revocatoria ante Incoder por legalizar</c:v>
                  </c:pt>
                  <c:pt idx="2">
                    <c:v>Resolucion licencia de construcción</c:v>
                  </c:pt>
                  <c:pt idx="3">
                    <c:v>Viviendas a Construir para RSP</c:v>
                  </c:pt>
                  <c:pt idx="4">
                    <c:v>Predios legalizados</c:v>
                  </c:pt>
                  <c:pt idx="5">
                    <c:v>predios proceso de revocatoria ante Incoder por legalizar</c:v>
                  </c:pt>
                  <c:pt idx="6">
                    <c:v>Resolucion licencia de construcción</c:v>
                  </c:pt>
                  <c:pt idx="7">
                    <c:v>Viviendas a Construir para RSP</c:v>
                  </c:pt>
                </c:lvl>
                <c:lvl>
                  <c:pt idx="0">
                    <c:v>Loma Colorada - Bosconia</c:v>
                  </c:pt>
                  <c:pt idx="4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4:$D$11</c:f>
              <c:numCache>
                <c:formatCode>0.0%</c:formatCode>
                <c:ptCount val="8"/>
                <c:pt idx="0">
                  <c:v>1</c:v>
                </c:pt>
                <c:pt idx="1">
                  <c:v>0</c:v>
                </c:pt>
                <c:pt idx="2">
                  <c:v>0.93</c:v>
                </c:pt>
                <c:pt idx="3">
                  <c:v>0.93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E-C7A7-48ED-B793-AE75C28DA3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box"/>
        <c:axId val="226382816"/>
        <c:axId val="226383376"/>
        <c:axId val="0"/>
      </c:bar3DChart>
      <c:catAx>
        <c:axId val="226382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6383376"/>
        <c:crosses val="autoZero"/>
        <c:auto val="1"/>
        <c:lblAlgn val="ctr"/>
        <c:lblOffset val="100"/>
        <c:noMultiLvlLbl val="0"/>
      </c:catAx>
      <c:valAx>
        <c:axId val="226383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63828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7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err="1"/>
              <a:t>Avance</a:t>
            </a:r>
            <a:r>
              <a:rPr lang="en-US" sz="1200" b="1" dirty="0"/>
              <a:t> </a:t>
            </a:r>
            <a:r>
              <a:rPr lang="en-US" sz="1200" b="1" dirty="0" err="1"/>
              <a:t>en</a:t>
            </a:r>
            <a:r>
              <a:rPr lang="en-US" sz="1200" b="1" dirty="0"/>
              <a:t> </a:t>
            </a:r>
            <a:r>
              <a:rPr lang="en-US" sz="1200" b="1" dirty="0" err="1"/>
              <a:t>Reasentamiento</a:t>
            </a:r>
            <a:r>
              <a:rPr lang="en-US" sz="1200" b="1" dirty="0"/>
              <a:t> </a:t>
            </a:r>
            <a:r>
              <a:rPr lang="en-US" sz="1200" b="1" dirty="0" err="1"/>
              <a:t>Otro</a:t>
            </a:r>
            <a:r>
              <a:rPr lang="en-US" sz="1200" b="1" baseline="0" dirty="0"/>
              <a:t> </a:t>
            </a:r>
            <a:r>
              <a:rPr lang="en-US" sz="1200" b="1" dirty="0" err="1"/>
              <a:t>Sitio</a:t>
            </a:r>
            <a:endParaRPr lang="en-US" sz="1200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CA-47F9-85B9-128CE229E38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CA-47F9-85B9-128CE229E38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7CA-47F9-85B9-128CE229E38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20:$C$25</c:f>
              <c:multiLvlStrCache>
                <c:ptCount val="6"/>
                <c:lvl>
                  <c:pt idx="0">
                    <c:v>Familias con vivienda seleccionada, adquirida y trasladada</c:v>
                  </c:pt>
                  <c:pt idx="1">
                    <c:v>Familias con vivienda o lote en proceso de adquisición</c:v>
                  </c:pt>
                  <c:pt idx="2">
                    <c:v>Familias en proceso de búsqueda de vivienda o lote</c:v>
                  </c:pt>
                  <c:pt idx="3">
                    <c:v>Familias con vivienda seleccionada, adquirida y trasladada</c:v>
                  </c:pt>
                  <c:pt idx="4">
                    <c:v>Familias con vivienda o lote en proceso de construcción</c:v>
                  </c:pt>
                  <c:pt idx="5">
                    <c:v>Familias en proceso de búsqueda de vivienda o lote</c:v>
                  </c:pt>
                </c:lvl>
                <c:lvl>
                  <c:pt idx="0">
                    <c:v>Loma Colorada - Bosconia</c:v>
                  </c:pt>
                  <c:pt idx="3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20:$D$25</c:f>
              <c:numCache>
                <c:formatCode>0.0%</c:formatCode>
                <c:ptCount val="6"/>
                <c:pt idx="0">
                  <c:v>0.56999999999999995</c:v>
                </c:pt>
                <c:pt idx="1">
                  <c:v>0.22</c:v>
                </c:pt>
                <c:pt idx="2">
                  <c:v>0.21</c:v>
                </c:pt>
                <c:pt idx="3">
                  <c:v>0.125</c:v>
                </c:pt>
                <c:pt idx="4">
                  <c:v>0.5</c:v>
                </c:pt>
                <c:pt idx="5">
                  <c:v>0.375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6-E7CA-47F9-85B9-128CE229E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shape val="box"/>
        <c:axId val="230200800"/>
        <c:axId val="230201360"/>
        <c:axId val="0"/>
      </c:bar3DChart>
      <c:catAx>
        <c:axId val="230200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30201360"/>
        <c:crosses val="autoZero"/>
        <c:auto val="1"/>
        <c:lblAlgn val="ctr"/>
        <c:lblOffset val="100"/>
        <c:noMultiLvlLbl val="0"/>
      </c:catAx>
      <c:valAx>
        <c:axId val="230201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3020080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7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/>
              <a:t>Compensación</a:t>
            </a:r>
            <a:r>
              <a:rPr lang="es-CO" baseline="0"/>
              <a:t> económica</a:t>
            </a:r>
            <a:endParaRPr lang="es-CO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0"/>
      <c:rotY val="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BAE-4327-B2BC-DD0B8E395A5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BAE-4327-B2BC-DD0B8E395A5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BAE-4327-B2BC-DD0B8E395A5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[Socya.xlsx]Provisional!$B$35:$C$40</c:f>
              <c:multiLvlStrCache>
                <c:ptCount val="6"/>
                <c:lvl>
                  <c:pt idx="0">
                    <c:v>Familias con pago de compensación económica en condición de moradores</c:v>
                  </c:pt>
                  <c:pt idx="1">
                    <c:v>Familias con pago de compensación económica por compra de mejoras</c:v>
                  </c:pt>
                  <c:pt idx="2">
                    <c:v>Familia en proceso de negociación para pago de compensación</c:v>
                  </c:pt>
                  <c:pt idx="3">
                    <c:v>Familias con pago de compensación económica en condición de moradores</c:v>
                  </c:pt>
                  <c:pt idx="4">
                    <c:v>Familias con pago de compensación económica por compra de mejoras</c:v>
                  </c:pt>
                  <c:pt idx="5">
                    <c:v>Familia en proceso de negociación para pago de compensación</c:v>
                  </c:pt>
                </c:lvl>
                <c:lvl>
                  <c:pt idx="0">
                    <c:v>Loma Colorada - Bosconia</c:v>
                  </c:pt>
                  <c:pt idx="3">
                    <c:v>La Estacion - Algarrobo</c:v>
                  </c:pt>
                </c:lvl>
              </c:multiLvlStrCache>
            </c:multiLvlStrRef>
          </c:cat>
          <c:val>
            <c:numRef>
              <c:f>[Socya.xlsx]Provisional!$D$35:$D$40</c:f>
              <c:numCache>
                <c:formatCode>0%</c:formatCode>
                <c:ptCount val="6"/>
                <c:pt idx="0">
                  <c:v>0.57999999999999996</c:v>
                </c:pt>
                <c:pt idx="1">
                  <c:v>0.26</c:v>
                </c:pt>
                <c:pt idx="2">
                  <c:v>0.16</c:v>
                </c:pt>
                <c:pt idx="3">
                  <c:v>0.5</c:v>
                </c:pt>
                <c:pt idx="4">
                  <c:v>0.5</c:v>
                </c:pt>
                <c:pt idx="5">
                  <c:v>0</c:v>
                </c:pt>
              </c:numCache>
            </c:numRef>
          </c:val>
          <c:shape val="cylinder"/>
          <c:extLst xmlns:c16r2="http://schemas.microsoft.com/office/drawing/2015/06/chart">
            <c:ext xmlns:c16="http://schemas.microsoft.com/office/drawing/2014/chart" uri="{C3380CC4-5D6E-409C-BE32-E72D297353CC}">
              <c16:uniqueId val="{00000006-CBAE-4327-B2BC-DD0B8E395A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9"/>
        <c:shape val="box"/>
        <c:axId val="225823568"/>
        <c:axId val="225824128"/>
        <c:axId val="0"/>
      </c:bar3DChart>
      <c:catAx>
        <c:axId val="22582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5824128"/>
        <c:crosses val="autoZero"/>
        <c:auto val="1"/>
        <c:lblAlgn val="ctr"/>
        <c:lblOffset val="100"/>
        <c:noMultiLvlLbl val="0"/>
      </c:catAx>
      <c:valAx>
        <c:axId val="22582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5823568"/>
        <c:crosses val="autoZero"/>
        <c:crossBetween val="between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6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00" b="1" i="0" u="none" strike="noStrike" kern="1200" spc="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900" b="1" dirty="0" err="1">
                <a:solidFill>
                  <a:schemeClr val="tx1">
                    <a:lumMod val="50000"/>
                  </a:schemeClr>
                </a:solidFill>
              </a:rPr>
              <a:t>Hstorico</a:t>
            </a:r>
            <a:r>
              <a:rPr lang="es-CO" sz="900" b="1" dirty="0">
                <a:solidFill>
                  <a:schemeClr val="tx1">
                    <a:lumMod val="50000"/>
                  </a:schemeClr>
                </a:solidFill>
              </a:rPr>
              <a:t> pasajeros</a:t>
            </a:r>
            <a:r>
              <a:rPr lang="es-CO" sz="900" b="1" baseline="0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>
              <a:defRPr sz="900" b="1">
                <a:solidFill>
                  <a:schemeClr val="tx1">
                    <a:lumMod val="50000"/>
                  </a:schemeClr>
                </a:solidFill>
              </a:defRPr>
            </a:pPr>
            <a:r>
              <a:rPr lang="es-CO" sz="900" b="1" baseline="0" dirty="0">
                <a:solidFill>
                  <a:schemeClr val="tx1">
                    <a:lumMod val="50000"/>
                  </a:schemeClr>
                </a:solidFill>
              </a:rPr>
              <a:t>tramo Km 5- Zipaquirá</a:t>
            </a:r>
            <a:endParaRPr lang="es-CO" sz="900" b="1" dirty="0">
              <a:solidFill>
                <a:schemeClr val="tx1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spc="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Historico UTFC-DRACOL.xlsx]Historico de pasajeros Bog-Bel'!$C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Historico UTFC-DRACOL.xlsx]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[Historico UTFC-DRACOL.xlsx]Historico de pasajeros Bog-Bel'!$C$4:$C$15</c:f>
              <c:numCache>
                <c:formatCode>#,##0</c:formatCode>
                <c:ptCount val="12"/>
                <c:pt idx="0">
                  <c:v>15565</c:v>
                </c:pt>
                <c:pt idx="1">
                  <c:v>18520</c:v>
                </c:pt>
                <c:pt idx="2">
                  <c:v>18351</c:v>
                </c:pt>
                <c:pt idx="3">
                  <c:v>18246</c:v>
                </c:pt>
                <c:pt idx="4">
                  <c:v>11901</c:v>
                </c:pt>
                <c:pt idx="5">
                  <c:v>6505</c:v>
                </c:pt>
                <c:pt idx="6">
                  <c:v>14428</c:v>
                </c:pt>
                <c:pt idx="7">
                  <c:v>19485</c:v>
                </c:pt>
                <c:pt idx="8">
                  <c:v>19985</c:v>
                </c:pt>
                <c:pt idx="9">
                  <c:v>25492</c:v>
                </c:pt>
                <c:pt idx="10">
                  <c:v>14684</c:v>
                </c:pt>
                <c:pt idx="11">
                  <c:v>333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450-4BC5-9E17-888473C7925B}"/>
            </c:ext>
          </c:extLst>
        </c:ser>
        <c:ser>
          <c:idx val="1"/>
          <c:order val="1"/>
          <c:tx>
            <c:strRef>
              <c:f>'[Historico UTFC-DRACOL.xlsx]Historico de pasajeros Bog-Bel'!$D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Historico UTFC-DRACOL.xlsx]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[Historico UTFC-DRACOL.xlsx]Historico de pasajeros Bog-Bel'!$D$4:$D$15</c:f>
              <c:numCache>
                <c:formatCode>#,##0</c:formatCode>
                <c:ptCount val="12"/>
                <c:pt idx="0">
                  <c:v>29464</c:v>
                </c:pt>
                <c:pt idx="1">
                  <c:v>42358</c:v>
                </c:pt>
                <c:pt idx="2">
                  <c:v>39728</c:v>
                </c:pt>
                <c:pt idx="3">
                  <c:v>35864</c:v>
                </c:pt>
                <c:pt idx="4">
                  <c:v>26183</c:v>
                </c:pt>
                <c:pt idx="5">
                  <c:v>11902</c:v>
                </c:pt>
                <c:pt idx="6">
                  <c:v>24244</c:v>
                </c:pt>
                <c:pt idx="7">
                  <c:v>42024</c:v>
                </c:pt>
                <c:pt idx="8">
                  <c:v>41728</c:v>
                </c:pt>
                <c:pt idx="9">
                  <c:v>36024</c:v>
                </c:pt>
                <c:pt idx="10">
                  <c:v>24450</c:v>
                </c:pt>
                <c:pt idx="11">
                  <c:v>349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450-4BC5-9E17-888473C7925B}"/>
            </c:ext>
          </c:extLst>
        </c:ser>
        <c:ser>
          <c:idx val="2"/>
          <c:order val="2"/>
          <c:tx>
            <c:strRef>
              <c:f>'[Historico UTFC-DRACOL.xlsx]Historico de pasajeros Bog-Bel'!$E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Historico UTFC-DRACOL.xlsx]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[Historico UTFC-DRACOL.xlsx]Historico de pasajeros Bog-Bel'!$E$4:$E$15</c:f>
              <c:numCache>
                <c:formatCode>#,##0</c:formatCode>
                <c:ptCount val="12"/>
                <c:pt idx="0">
                  <c:v>28036</c:v>
                </c:pt>
                <c:pt idx="1">
                  <c:v>40694</c:v>
                </c:pt>
                <c:pt idx="2">
                  <c:v>38112</c:v>
                </c:pt>
                <c:pt idx="3">
                  <c:v>40490</c:v>
                </c:pt>
                <c:pt idx="4">
                  <c:v>31876</c:v>
                </c:pt>
                <c:pt idx="5">
                  <c:v>10738</c:v>
                </c:pt>
                <c:pt idx="6">
                  <c:v>22500</c:v>
                </c:pt>
                <c:pt idx="7">
                  <c:v>42338</c:v>
                </c:pt>
                <c:pt idx="8">
                  <c:v>42728</c:v>
                </c:pt>
                <c:pt idx="9">
                  <c:v>35448</c:v>
                </c:pt>
                <c:pt idx="10">
                  <c:v>21320</c:v>
                </c:pt>
                <c:pt idx="11">
                  <c:v>315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450-4BC5-9E17-888473C7925B}"/>
            </c:ext>
          </c:extLst>
        </c:ser>
        <c:ser>
          <c:idx val="3"/>
          <c:order val="3"/>
          <c:tx>
            <c:strRef>
              <c:f>'[Historico UTFC-DRACOL.xlsx]Historico de pasajeros Bog-Bel'!$F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Historico UTFC-DRACOL.xlsx]Historico de pasajeros Bog-Bel'!$B$4:$B$15</c:f>
              <c:strCache>
                <c:ptCount val="12"/>
                <c:pt idx="0">
                  <c:v>Ene.</c:v>
                </c:pt>
                <c:pt idx="1">
                  <c:v>Feb.</c:v>
                </c:pt>
                <c:pt idx="2">
                  <c:v>Mar.</c:v>
                </c:pt>
                <c:pt idx="3">
                  <c:v>Abr.</c:v>
                </c:pt>
                <c:pt idx="4">
                  <c:v>May.</c:v>
                </c:pt>
                <c:pt idx="5">
                  <c:v>Jun.</c:v>
                </c:pt>
                <c:pt idx="6">
                  <c:v>Jul.</c:v>
                </c:pt>
                <c:pt idx="7">
                  <c:v>Ago.</c:v>
                </c:pt>
                <c:pt idx="8">
                  <c:v>Sep.</c:v>
                </c:pt>
                <c:pt idx="9">
                  <c:v>Oct.</c:v>
                </c:pt>
                <c:pt idx="10">
                  <c:v>Nov.</c:v>
                </c:pt>
                <c:pt idx="11">
                  <c:v>Dic.</c:v>
                </c:pt>
              </c:strCache>
            </c:strRef>
          </c:cat>
          <c:val>
            <c:numRef>
              <c:f>'[Historico UTFC-DRACOL.xlsx]Historico de pasajeros Bog-Bel'!$F$4:$F$15</c:f>
              <c:numCache>
                <c:formatCode>#,##0</c:formatCode>
                <c:ptCount val="12"/>
                <c:pt idx="0">
                  <c:v>27360</c:v>
                </c:pt>
                <c:pt idx="1">
                  <c:v>34208</c:v>
                </c:pt>
                <c:pt idx="2">
                  <c:v>41860</c:v>
                </c:pt>
                <c:pt idx="3">
                  <c:v>39378</c:v>
                </c:pt>
                <c:pt idx="4">
                  <c:v>31158</c:v>
                </c:pt>
                <c:pt idx="5">
                  <c:v>10630</c:v>
                </c:pt>
                <c:pt idx="6">
                  <c:v>22214</c:v>
                </c:pt>
                <c:pt idx="7">
                  <c:v>461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450-4BC5-9E17-888473C792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9570128"/>
        <c:axId val="229570688"/>
      </c:barChart>
      <c:catAx>
        <c:axId val="229570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9570688"/>
        <c:crosses val="autoZero"/>
        <c:auto val="1"/>
        <c:lblAlgn val="ctr"/>
        <c:lblOffset val="100"/>
        <c:noMultiLvlLbl val="0"/>
      </c:catAx>
      <c:valAx>
        <c:axId val="229570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29570128"/>
        <c:crosses val="autoZero"/>
        <c:crossBetween val="between"/>
        <c:majorUnit val="100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/>
            <a:t>Toneladas Transportad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Red Férrea del Atlántico </a:t>
          </a:r>
          <a:r>
            <a:rPr lang="es-CO" b="1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7.705.647</a:t>
          </a:r>
          <a:r>
            <a:rPr lang="es-MX" b="1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 Ton </a:t>
          </a:r>
          <a:r>
            <a:rPr lang="es-CO" b="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</a:t>
          </a:r>
          <a:r>
            <a:rPr lang="es-CO" b="1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1 MTon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7499A4B-B48B-4CA7-A2BF-8CBA54EC05C0}">
      <dgm:prSet phldrT="[Texto]"/>
      <dgm:spPr/>
      <dgm:t>
        <a:bodyPr/>
        <a:lstStyle/>
        <a:p>
          <a:r>
            <a:rPr lang="es-CO" dirty="0"/>
            <a:t>Red Férrea del Pacífico </a:t>
          </a:r>
          <a:r>
            <a:rPr lang="es-CO" b="1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233,634</a:t>
          </a:r>
          <a:r>
            <a:rPr lang="es-CO" dirty="0"/>
            <a:t> </a:t>
          </a:r>
          <a:r>
            <a:rPr lang="es-CO" b="1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Ton </a:t>
          </a:r>
          <a:r>
            <a:rPr lang="es-CO" b="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230.000 Ton</a:t>
          </a:r>
          <a:endParaRPr lang="es-CO" b="1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</dgm:t>
    </dgm:pt>
    <dgm:pt modelId="{B2DBA67C-BCD6-463C-AC81-1D3B37903BEE}" type="parTrans" cxnId="{DBE30969-0435-4D25-B3E6-54DB7A43099D}">
      <dgm:prSet/>
      <dgm:spPr/>
      <dgm:t>
        <a:bodyPr/>
        <a:lstStyle/>
        <a:p>
          <a:endParaRPr lang="es-CO"/>
        </a:p>
      </dgm:t>
    </dgm:pt>
    <dgm:pt modelId="{75627127-9B9F-4B34-B311-09B38BC3A495}" type="sibTrans" cxnId="{DBE30969-0435-4D25-B3E6-54DB7A43099D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429" custLinFactNeighborY="-3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0117" custLinFactNeighborY="-187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BE30969-0435-4D25-B3E6-54DB7A43099D}" srcId="{3256AD19-79D9-4DD2-BD85-48D74080CB17}" destId="{07499A4B-B48B-4CA7-A2BF-8CBA54EC05C0}" srcOrd="1" destOrd="0" parTransId="{B2DBA67C-BCD6-463C-AC81-1D3B37903BEE}" sibTransId="{75627127-9B9F-4B34-B311-09B38BC3A495}"/>
    <dgm:cxn modelId="{4918B416-3562-4452-A661-A5FF8C856EE4}" type="presOf" srcId="{3256AD19-79D9-4DD2-BD85-48D74080CB17}" destId="{FFC2669E-6EFE-4306-9BF4-0E6FE39D4B43}" srcOrd="0" destOrd="0" presId="urn:microsoft.com/office/officeart/2005/8/layout/hList1"/>
    <dgm:cxn modelId="{C79BE4D5-31F6-4CF1-95A8-2E979329302E}" type="presOf" srcId="{CF84DDC2-96BF-432F-AA37-B7281110F630}" destId="{351DADD5-826D-416B-84E5-26678C386891}" srcOrd="0" destOrd="0" presId="urn:microsoft.com/office/officeart/2005/8/layout/hList1"/>
    <dgm:cxn modelId="{49FB46D4-0191-4CFF-A096-87514BC05971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8DD6EFA8-AE41-4FB7-9615-1129982E1F95}" type="presOf" srcId="{07499A4B-B48B-4CA7-A2BF-8CBA54EC05C0}" destId="{AB09D624-FF1B-4987-8110-30D214096F41}" srcOrd="0" destOrd="1" presId="urn:microsoft.com/office/officeart/2005/8/layout/hList1"/>
    <dgm:cxn modelId="{4A062310-A990-4815-8922-BE092BFC04A4}" type="presParOf" srcId="{351DADD5-826D-416B-84E5-26678C386891}" destId="{78A07495-0AF3-45E3-8386-C0DF5FF5E438}" srcOrd="0" destOrd="0" presId="urn:microsoft.com/office/officeart/2005/8/layout/hList1"/>
    <dgm:cxn modelId="{6A50C155-0266-4C6F-A94F-3DD01D762665}" type="presParOf" srcId="{78A07495-0AF3-45E3-8386-C0DF5FF5E438}" destId="{FFC2669E-6EFE-4306-9BF4-0E6FE39D4B43}" srcOrd="0" destOrd="0" presId="urn:microsoft.com/office/officeart/2005/8/layout/hList1"/>
    <dgm:cxn modelId="{1513FCF7-C082-4EBD-BC5E-A396197830EB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/>
            <a:t>Toneladas Transportadas</a:t>
          </a:r>
          <a:endParaRPr lang="es-CO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r>
            <a:rPr lang="es-CO" sz="2700" dirty="0"/>
            <a:t>Red Férrea del Atlántico </a:t>
          </a:r>
          <a:r>
            <a:rPr lang="es-CO" sz="2000" b="1" dirty="0">
              <a:solidFill>
                <a:schemeClr val="accent4"/>
              </a:solidFill>
            </a:rPr>
            <a:t>47,7 M-Ton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F2EEE314-175B-4886-9CE2-8E1602E419B0}">
      <dgm:prSet phldrT="[Texto]" custT="1"/>
      <dgm:spPr/>
      <dgm:t>
        <a:bodyPr/>
        <a:lstStyle/>
        <a:p>
          <a:r>
            <a:rPr lang="es-CO" sz="2700" dirty="0"/>
            <a:t>Inversiones por COP </a:t>
          </a:r>
          <a:r>
            <a:rPr lang="es-CO" sz="2000" b="1" dirty="0">
              <a:solidFill>
                <a:schemeClr val="accent4"/>
              </a:solidFill>
            </a:rPr>
            <a:t>$68.747 millones</a:t>
          </a:r>
        </a:p>
      </dgm:t>
    </dgm:pt>
    <dgm:pt modelId="{90BC5301-B746-42D8-9D91-86617A13FD22}" type="parTrans" cxnId="{7E09A7D2-0482-4929-8D38-EC2C0C9EB3FE}">
      <dgm:prSet/>
      <dgm:spPr/>
      <dgm:t>
        <a:bodyPr/>
        <a:lstStyle/>
        <a:p>
          <a:endParaRPr lang="es-CO"/>
        </a:p>
      </dgm:t>
    </dgm:pt>
    <dgm:pt modelId="{A439399A-3B0B-444D-BF0A-7971002359BF}" type="sibTrans" cxnId="{7E09A7D2-0482-4929-8D38-EC2C0C9EB3FE}">
      <dgm:prSet/>
      <dgm:spPr/>
      <dgm:t>
        <a:bodyPr/>
        <a:lstStyle/>
        <a:p>
          <a:endParaRPr lang="es-CO"/>
        </a:p>
      </dgm:t>
    </dgm:pt>
    <dgm:pt modelId="{49006717-FC2A-4778-9799-DDF035C7C4E0}">
      <dgm:prSet phldrT="[Texto]" custT="1"/>
      <dgm:spPr/>
      <dgm:t>
        <a:bodyPr/>
        <a:lstStyle/>
        <a:p>
          <a:r>
            <a:rPr lang="es-CO" sz="2700" dirty="0"/>
            <a:t>Red Férrea del Pacifico </a:t>
          </a:r>
          <a:r>
            <a:rPr lang="es-CO" sz="2000" b="1" dirty="0">
              <a:solidFill>
                <a:schemeClr val="accent4"/>
              </a:solidFill>
            </a:rPr>
            <a:t>29.000 Ton </a:t>
          </a:r>
        </a:p>
      </dgm:t>
    </dgm:pt>
    <dgm:pt modelId="{C5A6DCCE-FD48-4BD0-A312-ECD5574DC5AE}" type="parTrans" cxnId="{785EA492-B6EF-4AA1-8053-FD22F83CE674}">
      <dgm:prSet/>
      <dgm:spPr/>
      <dgm:t>
        <a:bodyPr/>
        <a:lstStyle/>
        <a:p>
          <a:endParaRPr lang="es-CO"/>
        </a:p>
      </dgm:t>
    </dgm:pt>
    <dgm:pt modelId="{31D6E56B-A977-47E1-A4E6-CE7E0CE78B42}" type="sibTrans" cxnId="{785EA492-B6EF-4AA1-8053-FD22F83CE674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1429" custLinFactNeighborY="-3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09D624-FF1B-4987-8110-30D214096F41}" type="pres">
      <dgm:prSet presAssocID="{3256AD19-79D9-4DD2-BD85-48D74080CB17}" presName="desTx" presStyleLbl="alignAccFollowNode1" presStyleIdx="0" presStyleCnt="1" custLinFactNeighborX="-10906" custLinFactNeighborY="-187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D8E91B4-ED32-404B-A890-2E1FC6816669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7E09A7D2-0482-4929-8D38-EC2C0C9EB3FE}" srcId="{3256AD19-79D9-4DD2-BD85-48D74080CB17}" destId="{F2EEE314-175B-4886-9CE2-8E1602E419B0}" srcOrd="2" destOrd="0" parTransId="{90BC5301-B746-42D8-9D91-86617A13FD22}" sibTransId="{A439399A-3B0B-444D-BF0A-7971002359BF}"/>
    <dgm:cxn modelId="{5DE9094D-DFE6-4FE5-B2C8-D0C245B73A14}" type="presOf" srcId="{3256AD19-79D9-4DD2-BD85-48D74080CB17}" destId="{FFC2669E-6EFE-4306-9BF4-0E6FE39D4B43}" srcOrd="0" destOrd="0" presId="urn:microsoft.com/office/officeart/2005/8/layout/hList1"/>
    <dgm:cxn modelId="{785EA492-B6EF-4AA1-8053-FD22F83CE674}" srcId="{3256AD19-79D9-4DD2-BD85-48D74080CB17}" destId="{49006717-FC2A-4778-9799-DDF035C7C4E0}" srcOrd="1" destOrd="0" parTransId="{C5A6DCCE-FD48-4BD0-A312-ECD5574DC5AE}" sibTransId="{31D6E56B-A977-47E1-A4E6-CE7E0CE78B42}"/>
    <dgm:cxn modelId="{BC26221F-DAA5-43D9-B28A-0F18CC0068D4}" type="presOf" srcId="{CF84DDC2-96BF-432F-AA37-B7281110F630}" destId="{351DADD5-826D-416B-84E5-26678C386891}" srcOrd="0" destOrd="0" presId="urn:microsoft.com/office/officeart/2005/8/layout/hList1"/>
    <dgm:cxn modelId="{A91A0E5C-0893-45F3-BE31-339A8160FC9F}" type="presOf" srcId="{49006717-FC2A-4778-9799-DDF035C7C4E0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30CE909-08B9-46FD-97A7-29F84751271D}" type="presOf" srcId="{F2EEE314-175B-4886-9CE2-8E1602E419B0}" destId="{AB09D624-FF1B-4987-8110-30D214096F41}" srcOrd="0" destOrd="2" presId="urn:microsoft.com/office/officeart/2005/8/layout/hList1"/>
    <dgm:cxn modelId="{B7E836D1-98C4-49AD-A5C7-6B4E3B34115A}" type="presParOf" srcId="{351DADD5-826D-416B-84E5-26678C386891}" destId="{78A07495-0AF3-45E3-8386-C0DF5FF5E438}" srcOrd="0" destOrd="0" presId="urn:microsoft.com/office/officeart/2005/8/layout/hList1"/>
    <dgm:cxn modelId="{C5C0B82F-BC05-4EA3-B305-C5617E66C8BF}" type="presParOf" srcId="{78A07495-0AF3-45E3-8386-C0DF5FF5E438}" destId="{FFC2669E-6EFE-4306-9BF4-0E6FE39D4B43}" srcOrd="0" destOrd="0" presId="urn:microsoft.com/office/officeart/2005/8/layout/hList1"/>
    <dgm:cxn modelId="{29F41E26-5714-4F8E-818A-CD0D537E9A7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03328"/>
          <a:ext cx="5040560" cy="633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200" kern="1200"/>
            <a:t>Toneladas Transportadas</a:t>
          </a:r>
          <a:endParaRPr lang="es-CO" sz="2200" kern="1200" dirty="0"/>
        </a:p>
      </dsp:txBody>
      <dsp:txXfrm>
        <a:off x="0" y="103328"/>
        <a:ext cx="5040560" cy="633600"/>
      </dsp:txXfrm>
    </dsp:sp>
    <dsp:sp modelId="{AB09D624-FF1B-4987-8110-30D214096F41}">
      <dsp:nvSpPr>
        <dsp:cNvPr id="0" name=""/>
        <dsp:cNvSpPr/>
      </dsp:nvSpPr>
      <dsp:spPr>
        <a:xfrm>
          <a:off x="0" y="703307"/>
          <a:ext cx="5040560" cy="190228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200" kern="1200" dirty="0"/>
            <a:t>Red Férrea del Atlántico </a:t>
          </a:r>
          <a:r>
            <a:rPr lang="es-CO" sz="2200" b="1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7.705.647</a:t>
          </a:r>
          <a:r>
            <a:rPr lang="es-MX" sz="2200" b="1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 Ton </a:t>
          </a:r>
          <a:r>
            <a:rPr lang="es-CO" sz="2200" b="0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</a:t>
          </a:r>
          <a:r>
            <a:rPr lang="es-CO" sz="2200" b="1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41 MTon</a:t>
          </a: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200" kern="1200" dirty="0"/>
            <a:t>Red Férrea del Pacífico </a:t>
          </a:r>
          <a:r>
            <a:rPr lang="es-CO" sz="2200" b="1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233,634</a:t>
          </a:r>
          <a:r>
            <a:rPr lang="es-CO" sz="2200" kern="1200" dirty="0"/>
            <a:t> </a:t>
          </a:r>
          <a:r>
            <a:rPr lang="es-CO" sz="2200" b="1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Ton </a:t>
          </a:r>
          <a:r>
            <a:rPr lang="es-CO" sz="2200" b="0" kern="1200" dirty="0">
              <a:solidFill>
                <a:schemeClr val="accent1">
                  <a:lumMod val="25000"/>
                </a:schemeClr>
              </a:solidFill>
              <a:effectLst/>
              <a:latin typeface="Candara" panose="020E0502030303020204" pitchFamily="34" charset="0"/>
              <a:ea typeface="+mn-ea"/>
              <a:cs typeface="+mn-cs"/>
            </a:rPr>
            <a:t>sobre una meta propuesta de 230.000 Ton</a:t>
          </a:r>
          <a:endParaRPr lang="es-CO" sz="2200" b="1" kern="1200" dirty="0">
            <a:solidFill>
              <a:schemeClr val="accent1">
                <a:lumMod val="25000"/>
              </a:schemeClr>
            </a:solidFill>
            <a:effectLst/>
            <a:latin typeface="Candara" panose="020E0502030303020204" pitchFamily="34" charset="0"/>
            <a:ea typeface="+mn-ea"/>
            <a:cs typeface="+mn-cs"/>
          </a:endParaRPr>
        </a:p>
      </dsp:txBody>
      <dsp:txXfrm>
        <a:off x="0" y="703307"/>
        <a:ext cx="5040560" cy="19022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4607"/>
          <a:ext cx="5289625" cy="1065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3144" tIns="150368" rIns="263144" bIns="150368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700" kern="1200"/>
            <a:t>Toneladas Transportadas</a:t>
          </a:r>
          <a:endParaRPr lang="es-CO" sz="3700" kern="1200" dirty="0"/>
        </a:p>
      </dsp:txBody>
      <dsp:txXfrm>
        <a:off x="0" y="24607"/>
        <a:ext cx="5289625" cy="1065600"/>
      </dsp:txXfrm>
    </dsp:sp>
    <dsp:sp modelId="{AB09D624-FF1B-4987-8110-30D214096F41}">
      <dsp:nvSpPr>
        <dsp:cNvPr id="0" name=""/>
        <dsp:cNvSpPr/>
      </dsp:nvSpPr>
      <dsp:spPr>
        <a:xfrm>
          <a:off x="0" y="1063117"/>
          <a:ext cx="5289625" cy="162504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/>
            <a:t>Red Férrea del Atlántico </a:t>
          </a:r>
          <a:r>
            <a:rPr lang="es-CO" sz="2000" b="1" kern="1200" dirty="0">
              <a:solidFill>
                <a:schemeClr val="accent4"/>
              </a:solidFill>
            </a:rPr>
            <a:t>47,7 M-Ton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/>
            <a:t>Red Férrea del Pacifico </a:t>
          </a:r>
          <a:r>
            <a:rPr lang="es-CO" sz="2000" b="1" kern="1200" dirty="0">
              <a:solidFill>
                <a:schemeClr val="accent4"/>
              </a:solidFill>
            </a:rPr>
            <a:t>29.000 Ton 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700" kern="1200" dirty="0"/>
            <a:t>Inversiones por COP </a:t>
          </a:r>
          <a:r>
            <a:rPr lang="es-CO" sz="2000" b="1" kern="1200" dirty="0">
              <a:solidFill>
                <a:schemeClr val="accent4"/>
              </a:solidFill>
            </a:rPr>
            <a:t>$68.747 millones</a:t>
          </a:r>
        </a:p>
      </dsp:txBody>
      <dsp:txXfrm>
        <a:off x="0" y="1063117"/>
        <a:ext cx="5289625" cy="1625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9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7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96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998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2923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7559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6178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960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7741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185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D52C1F3E-BB29-49E7-9332-E23C0ECD21B4}" type="slidenum">
              <a:rPr lang="en-US" sz="1200" smtClean="0">
                <a:latin typeface="Candara"/>
              </a:rPr>
              <a:pPr eaLnBrk="1" hangingPunct="1"/>
              <a:t>18</a:t>
            </a:fld>
            <a:endParaRPr lang="en-US" sz="1200">
              <a:latin typeface="Candara"/>
            </a:endParaRPr>
          </a:p>
        </p:txBody>
      </p:sp>
      <p:sp>
        <p:nvSpPr>
          <p:cNvPr id="6553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2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065634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104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86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7068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3748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22</a:t>
            </a:fld>
            <a:endParaRPr lang="en-US" sz="120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408416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F7AEEAE5-5E09-4A08-BC94-FD7C1906E753}" type="slidenum">
              <a:rPr lang="en-US" sz="1200" smtClean="0">
                <a:latin typeface="Candara"/>
              </a:rPr>
              <a:pPr eaLnBrk="1" hangingPunct="1"/>
              <a:t>26</a:t>
            </a:fld>
            <a:endParaRPr lang="en-US" sz="1200">
              <a:latin typeface="Candara"/>
            </a:endParaRPr>
          </a:p>
        </p:txBody>
      </p:sp>
      <p:sp>
        <p:nvSpPr>
          <p:cNvPr id="5529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53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30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530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1097071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54994596-6E8E-45DB-8898-CB3FAEEB7F85}" type="slidenum">
              <a:rPr lang="en-US" sz="1200" smtClean="0">
                <a:latin typeface="Candara"/>
              </a:rPr>
              <a:pPr eaLnBrk="1" hangingPunct="1"/>
              <a:t>27</a:t>
            </a:fld>
            <a:endParaRPr lang="en-US" sz="1200">
              <a:latin typeface="Candara"/>
            </a:endParaRPr>
          </a:p>
        </p:txBody>
      </p:sp>
      <p:sp>
        <p:nvSpPr>
          <p:cNvPr id="5837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1199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825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75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54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310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32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5.png"/><Relationship Id="rId2" Type="http://schemas.openxmlformats.org/officeDocument/2006/relationships/tags" Target="../tags/tag10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6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4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5.emf"/><Relationship Id="rId11" Type="http://schemas.openxmlformats.org/officeDocument/2006/relationships/image" Target="../media/image28.jpe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0.bin"/><Relationship Id="rId10" Type="http://schemas.openxmlformats.org/officeDocument/2006/relationships/chart" Target="../charts/chart2.xml"/><Relationship Id="rId4" Type="http://schemas.openxmlformats.org/officeDocument/2006/relationships/notesSlide" Target="../notesSlides/notesSlide11.xml"/><Relationship Id="rId9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12" Type="http://schemas.openxmlformats.org/officeDocument/2006/relationships/image" Target="../media/image32.png"/><Relationship Id="rId2" Type="http://schemas.openxmlformats.org/officeDocument/2006/relationships/tags" Target="../tags/tag76.xml"/><Relationship Id="rId16" Type="http://schemas.openxmlformats.org/officeDocument/2006/relationships/chart" Target="../charts/chart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5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8.xml"/><Relationship Id="rId7" Type="http://schemas.openxmlformats.org/officeDocument/2006/relationships/image" Target="../media/image15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0.xml"/><Relationship Id="rId7" Type="http://schemas.openxmlformats.org/officeDocument/2006/relationships/image" Target="../media/image15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2.xml"/><Relationship Id="rId7" Type="http://schemas.openxmlformats.org/officeDocument/2006/relationships/image" Target="../media/image15.emf"/><Relationship Id="rId12" Type="http://schemas.openxmlformats.org/officeDocument/2006/relationships/image" Target="../media/image39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38.gif"/><Relationship Id="rId5" Type="http://schemas.openxmlformats.org/officeDocument/2006/relationships/notesSlide" Target="../notesSlides/notesSlide15.xml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3.jpeg"/><Relationship Id="rId3" Type="http://schemas.openxmlformats.org/officeDocument/2006/relationships/tags" Target="../tags/tag84.xml"/><Relationship Id="rId7" Type="http://schemas.openxmlformats.org/officeDocument/2006/relationships/image" Target="../media/image15.emf"/><Relationship Id="rId12" Type="http://schemas.openxmlformats.org/officeDocument/2006/relationships/image" Target="../media/image42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41.jpe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7.jpeg"/><Relationship Id="rId3" Type="http://schemas.openxmlformats.org/officeDocument/2006/relationships/tags" Target="../tags/tag86.xml"/><Relationship Id="rId7" Type="http://schemas.openxmlformats.org/officeDocument/2006/relationships/image" Target="../media/image15.emf"/><Relationship Id="rId12" Type="http://schemas.openxmlformats.org/officeDocument/2006/relationships/image" Target="../media/image46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45.jpe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44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88.xml"/><Relationship Id="rId7" Type="http://schemas.openxmlformats.org/officeDocument/2006/relationships/image" Target="../media/image16.png"/><Relationship Id="rId2" Type="http://schemas.openxmlformats.org/officeDocument/2006/relationships/tags" Target="../tags/tag8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0.xml"/><Relationship Id="rId7" Type="http://schemas.openxmlformats.org/officeDocument/2006/relationships/image" Target="../media/image15.emf"/><Relationship Id="rId2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50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54.jpeg"/><Relationship Id="rId3" Type="http://schemas.openxmlformats.org/officeDocument/2006/relationships/tags" Target="../tags/tag92.xml"/><Relationship Id="rId7" Type="http://schemas.openxmlformats.org/officeDocument/2006/relationships/image" Target="../media/image15.emf"/><Relationship Id="rId12" Type="http://schemas.openxmlformats.org/officeDocument/2006/relationships/image" Target="../media/image53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52.jpeg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51.jpe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58.jpeg"/><Relationship Id="rId3" Type="http://schemas.openxmlformats.org/officeDocument/2006/relationships/tags" Target="../tags/tag94.xml"/><Relationship Id="rId7" Type="http://schemas.openxmlformats.org/officeDocument/2006/relationships/image" Target="../media/image15.emf"/><Relationship Id="rId12" Type="http://schemas.openxmlformats.org/officeDocument/2006/relationships/image" Target="../media/image5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56.jpeg"/><Relationship Id="rId5" Type="http://schemas.openxmlformats.org/officeDocument/2006/relationships/notesSlide" Target="../notesSlides/notesSlide21.xml"/><Relationship Id="rId10" Type="http://schemas.openxmlformats.org/officeDocument/2006/relationships/image" Target="../media/image55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diagramDrawing" Target="../diagrams/drawing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12" Type="http://schemas.openxmlformats.org/officeDocument/2006/relationships/diagramColors" Target="../diagrams/colors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5.emf"/><Relationship Id="rId11" Type="http://schemas.openxmlformats.org/officeDocument/2006/relationships/diagramQuickStyle" Target="../diagrams/quickStyle2.xml"/><Relationship Id="rId5" Type="http://schemas.openxmlformats.org/officeDocument/2006/relationships/oleObject" Target="../embeddings/oleObject33.bin"/><Relationship Id="rId10" Type="http://schemas.openxmlformats.org/officeDocument/2006/relationships/diagramLayout" Target="../diagrams/layout2.xml"/><Relationship Id="rId4" Type="http://schemas.openxmlformats.org/officeDocument/2006/relationships/notesSlide" Target="../notesSlides/notesSlide22.xml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9.emf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microsoft.com/office/2007/relationships/hdphoto" Target="../media/hdphoto2.wdp"/><Relationship Id="rId2" Type="http://schemas.openxmlformats.org/officeDocument/2006/relationships/tags" Target="../tags/tag9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microsoft.com/office/2007/relationships/hdphoto" Target="../media/hdphoto1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jpeg"/><Relationship Id="rId1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1.xml"/><Relationship Id="rId12" Type="http://schemas.openxmlformats.org/officeDocument/2006/relationships/image" Target="../media/image1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6.xml"/><Relationship Id="rId7" Type="http://schemas.openxmlformats.org/officeDocument/2006/relationships/image" Target="../media/image15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4.xml"/><Relationship Id="rId9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13" Type="http://schemas.openxmlformats.org/officeDocument/2006/relationships/image" Target="../media/image21.emf"/><Relationship Id="rId3" Type="http://schemas.openxmlformats.org/officeDocument/2006/relationships/tags" Target="../tags/tag68.xml"/><Relationship Id="rId7" Type="http://schemas.openxmlformats.org/officeDocument/2006/relationships/notesSlide" Target="../notesSlides/notesSlide8.xml"/><Relationship Id="rId12" Type="http://schemas.openxmlformats.org/officeDocument/2006/relationships/image" Target="../media/image20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4.xml"/><Relationship Id="rId11" Type="http://schemas.microsoft.com/office/2007/relationships/hdphoto" Target="../media/hdphoto2.wdp"/><Relationship Id="rId5" Type="http://schemas.openxmlformats.org/officeDocument/2006/relationships/tags" Target="../tags/tag70.xml"/><Relationship Id="rId10" Type="http://schemas.openxmlformats.org/officeDocument/2006/relationships/image" Target="../media/image16.png"/><Relationship Id="rId4" Type="http://schemas.openxmlformats.org/officeDocument/2006/relationships/tags" Target="../tags/tag69.xml"/><Relationship Id="rId9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4.jpeg"/><Relationship Id="rId3" Type="http://schemas.openxmlformats.org/officeDocument/2006/relationships/tags" Target="../tags/tag72.xml"/><Relationship Id="rId7" Type="http://schemas.openxmlformats.org/officeDocument/2006/relationships/oleObject" Target="../embeddings/oleObject18.bin"/><Relationship Id="rId12" Type="http://schemas.openxmlformats.org/officeDocument/2006/relationships/image" Target="../media/image23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2.jpeg"/><Relationship Id="rId5" Type="http://schemas.openxmlformats.org/officeDocument/2006/relationships/slideLayout" Target="../slideLayouts/slideLayout4.xml"/><Relationship Id="rId10" Type="http://schemas.microsoft.com/office/2007/relationships/hdphoto" Target="../media/hdphoto2.wdp"/><Relationship Id="rId4" Type="http://schemas.openxmlformats.org/officeDocument/2006/relationships/tags" Target="../tags/tag73.xml"/><Relationship Id="rId9" Type="http://schemas.openxmlformats.org/officeDocument/2006/relationships/image" Target="../media/image16.png"/><Relationship Id="rId1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pPr algn="ctr"/>
            <a:r>
              <a:rPr lang="en-US" dirty="0" err="1">
                <a:solidFill>
                  <a:schemeClr val="tx2"/>
                </a:solidFill>
              </a:rPr>
              <a:t>Avance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Modo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Férre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Junio de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19" name="CuadroTexto 18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ATLÁNTICO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33962"/>
              </p:ext>
            </p:extLst>
          </p:nvPr>
        </p:nvGraphicFramePr>
        <p:xfrm>
          <a:off x="2004646" y="1268760"/>
          <a:ext cx="6814039" cy="306441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68140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2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800" kern="1200" dirty="0">
                          <a:effectLst/>
                        </a:rPr>
                        <a:t>ACTIVIDADES DESTACADAS 2015 -  RED</a:t>
                      </a:r>
                      <a:r>
                        <a:rPr lang="es-CO" sz="1800" kern="1200" baseline="0" dirty="0">
                          <a:effectLst/>
                        </a:rPr>
                        <a:t> FÉRREA DEL ATLÁNTICO</a:t>
                      </a:r>
                      <a:endParaRPr lang="es-CO" sz="1800" kern="1200" dirty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just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s-MX" sz="900" kern="1200" dirty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dirty="0">
                          <a:effectLst/>
                        </a:rPr>
                        <a:t>Corredor</a:t>
                      </a:r>
                      <a:r>
                        <a:rPr lang="es-MX" sz="1100" baseline="0" dirty="0">
                          <a:effectLst/>
                        </a:rPr>
                        <a:t> férreo operando con normalidad en sus 192 Km.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dirty="0">
                          <a:effectLst/>
                        </a:rPr>
                        <a:t>Se levantan las restricciones nocturnas vigentes sobre el corredor desde el mes de febrero de 2015 a noviembre 2015 en los sectores</a:t>
                      </a:r>
                      <a:r>
                        <a:rPr lang="es-MX" sz="1100" kern="1200" baseline="0" dirty="0">
                          <a:effectLst/>
                        </a:rPr>
                        <a:t> de Bosconia, Algarrobo, Fundación y Zona Bananera</a:t>
                      </a:r>
                      <a:endParaRPr lang="es-MX" sz="1100" kern="1200" dirty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spc="0" baseline="0" dirty="0">
                          <a:effectLst/>
                        </a:rPr>
                        <a:t>E</a:t>
                      </a:r>
                      <a:r>
                        <a:rPr lang="es-CO" sz="1100" kern="1200" baseline="0" dirty="0">
                          <a:effectLst/>
                        </a:rPr>
                        <a:t>xpedición Decreto 1802 del 9 de Sep de 2015 y 1977 del 6 de Oct de 2015 los cuales permitieron el tráfico ferroviario todos los días las 24 horas del día en las zonas con restricción nocturna y la movilización del carbón que se produzca en los municipios de Norte de Santander cobijados por </a:t>
                      </a:r>
                      <a:r>
                        <a:rPr lang="es-CO" sz="1100" kern="1200" dirty="0">
                          <a:effectLst/>
                        </a:rPr>
                        <a:t>el Decreto 1770 de 2015, a través de los puertos de servicio privado de la Costa Caribe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dirty="0">
                          <a:effectLst/>
                        </a:rPr>
                        <a:t>Record histórico</a:t>
                      </a:r>
                      <a:r>
                        <a:rPr lang="es-CO" sz="1100" kern="1200" baseline="0" dirty="0">
                          <a:effectLst/>
                        </a:rPr>
                        <a:t> de movilización de carga en la concesión 47,7 MTon frente a la proyección establecida de 41 MTon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baseline="0" dirty="0">
                          <a:effectLst/>
                        </a:rPr>
                        <a:t>Entrada en funcionamiento del sistema de control de trenes ITCS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kern="1200" baseline="0" dirty="0">
                          <a:effectLst/>
                        </a:rPr>
                        <a:t>Obtención de las licencias ambientales para los sectores de </a:t>
                      </a:r>
                      <a:r>
                        <a:rPr lang="es-MX" sz="1100" baseline="0" dirty="0">
                          <a:effectLst/>
                        </a:rPr>
                        <a:t>Guamachito, Varela y Rio Frío</a:t>
                      </a: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dirty="0">
                          <a:effectLst/>
                        </a:rPr>
                        <a:t>Inicio de la construcción de las primeras 22 viviendas en el marco del contrato de reasentamiento</a:t>
                      </a:r>
                      <a:endParaRPr lang="es-MX" sz="1100" kern="1200" baseline="0" dirty="0">
                        <a:effectLst/>
                      </a:endParaRPr>
                    </a:p>
                    <a:p>
                      <a:pPr marL="531813" marR="0" lvl="0" indent="-265113" algn="just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MX" sz="1100" kern="1200" baseline="0" dirty="0">
                          <a:effectLst/>
                        </a:rPr>
                        <a:t>Ejecución satisfactoria del Plan de reasentamiento en los sectores de </a:t>
                      </a:r>
                      <a:r>
                        <a:rPr lang="es-MX" sz="1100" baseline="0" dirty="0">
                          <a:effectLst/>
                        </a:rPr>
                        <a:t>Loma Colorada, Algarrobo y Lleras</a:t>
                      </a:r>
                      <a:endParaRPr lang="es-MX" sz="1100" kern="1200" dirty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Candara" panose="020E0502030303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9" name="Imagen 8" descr="C:\Users\jrueda\Desktop\Fotos trenes\Fotos trenes\DSC_0586.JPG"/>
          <p:cNvPicPr/>
          <p:nvPr/>
        </p:nvPicPr>
        <p:blipFill>
          <a:blip r:embed="rId9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1234" y="4443104"/>
            <a:ext cx="2100862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10" name="Imagen 9" descr="C:\Users\jrueda\AppData\Local\Microsoft\Windows\Temporary Internet Files\Content.Word\972986a508b216cbe79f2b69b2351c18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2474" y="4443104"/>
            <a:ext cx="2217947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1" name="Imagen 10" descr="C:\Supervisión FENOCO\Vigencia 2015\Informes de Comisión\Contraloria\IMG_1196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4646" y="4443104"/>
            <a:ext cx="2100862" cy="16586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600000" lon="19475206" rev="21253487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39079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aphicFrame>
        <p:nvGraphicFramePr>
          <p:cNvPr id="6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27359"/>
              </p:ext>
            </p:extLst>
          </p:nvPr>
        </p:nvGraphicFramePr>
        <p:xfrm>
          <a:off x="2289330" y="1104298"/>
          <a:ext cx="6192570" cy="2977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61925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25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400" kern="12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AVANCES REASENTAMIENTOS POBLACIONAL (Loma</a:t>
                      </a:r>
                      <a:r>
                        <a:rPr lang="es-CO" sz="1400" kern="1200" baseline="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 Colorada – Algarrobo)</a:t>
                      </a:r>
                      <a:endParaRPr lang="es-CO" sz="1400" kern="12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0" name="CuadroTexto 19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ATLÁNTICO</a:t>
            </a:r>
          </a:p>
        </p:txBody>
      </p:sp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1404162"/>
              </p:ext>
            </p:extLst>
          </p:nvPr>
        </p:nvGraphicFramePr>
        <p:xfrm>
          <a:off x="2457049" y="1608260"/>
          <a:ext cx="5859339" cy="2198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4400716"/>
              </p:ext>
            </p:extLst>
          </p:nvPr>
        </p:nvGraphicFramePr>
        <p:xfrm>
          <a:off x="2457048" y="3903786"/>
          <a:ext cx="5859339" cy="235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3483085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aphicFrame>
        <p:nvGraphicFramePr>
          <p:cNvPr id="6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482277"/>
              </p:ext>
            </p:extLst>
          </p:nvPr>
        </p:nvGraphicFramePr>
        <p:xfrm>
          <a:off x="2289330" y="1104298"/>
          <a:ext cx="6192570" cy="2977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61925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25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400" kern="12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Candara" panose="020E0502030303020204" pitchFamily="34" charset="0"/>
                        </a:rPr>
                        <a:t>AVANCES REASENTAMIENTOS POBLACIONAL</a:t>
                      </a:r>
                      <a:endParaRPr lang="es-CO" sz="1400" kern="12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0" name="CuadroTexto 19"/>
          <p:cNvSpPr txBox="1"/>
          <p:nvPr/>
        </p:nvSpPr>
        <p:spPr>
          <a:xfrm>
            <a:off x="1939185" y="143048"/>
            <a:ext cx="305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ATLÁNTICO</a:t>
            </a: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28449" y="4390821"/>
            <a:ext cx="3512322" cy="1899472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93640" y="4390821"/>
            <a:ext cx="3595270" cy="1829797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82613" y="4735068"/>
            <a:ext cx="1559399" cy="1165950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30985" y="4757588"/>
            <a:ext cx="1538868" cy="1150600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29744" y="5908188"/>
            <a:ext cx="3300670" cy="312430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12060" y="4375319"/>
            <a:ext cx="884983" cy="400467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94215" y="4390821"/>
            <a:ext cx="824133" cy="388109"/>
          </a:xfrm>
          <a:prstGeom prst="rect">
            <a:avLst/>
          </a:prstGeom>
        </p:spPr>
      </p:pic>
      <p:graphicFrame>
        <p:nvGraphicFramePr>
          <p:cNvPr id="26" name="Gráfico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7752453"/>
              </p:ext>
            </p:extLst>
          </p:nvPr>
        </p:nvGraphicFramePr>
        <p:xfrm>
          <a:off x="2409502" y="1541343"/>
          <a:ext cx="5952226" cy="2700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33301880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39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29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30" name="CuadroTexto 29"/>
          <p:cNvSpPr txBox="1"/>
          <p:nvPr/>
        </p:nvSpPr>
        <p:spPr>
          <a:xfrm>
            <a:off x="1892175" y="2480650"/>
            <a:ext cx="68715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/>
              <a:t>Con ocasión de la Ola Invernal de 2011, la infraestructura férrea sufrió</a:t>
            </a:r>
          </a:p>
          <a:p>
            <a:pPr algn="ctr"/>
            <a:r>
              <a:rPr lang="es-CO" dirty="0"/>
              <a:t>una grave afectación, con el fin de rehabilitar el corredor férreo se </a:t>
            </a:r>
          </a:p>
          <a:p>
            <a:pPr algn="ctr"/>
            <a:r>
              <a:rPr lang="es-CO" dirty="0"/>
              <a:t>suscribieron 2 contratos de obras pública, estos son:</a:t>
            </a:r>
          </a:p>
          <a:p>
            <a:endParaRPr lang="es-CO" dirty="0"/>
          </a:p>
          <a:p>
            <a:endParaRPr lang="es-CO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dirty="0"/>
              <a:t>Corredor Bogotá – Belencito (Contrato de obra No. 356 de 2013)</a:t>
            </a:r>
          </a:p>
          <a:p>
            <a:pPr marL="285750" indent="-285750">
              <a:buFontTx/>
              <a:buChar char="-"/>
            </a:pPr>
            <a:endParaRPr lang="es-CO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dirty="0"/>
              <a:t>Corredor la Dorada – Chiriguaná (Contrato de Obra No. 418 de 2013)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848225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8" name="Imagen 7"/>
          <p:cNvPicPr/>
          <p:nvPr/>
        </p:nvPicPr>
        <p:blipFill rotWithShape="1"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5100" y="1825685"/>
            <a:ext cx="3028592" cy="354445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30 CuadroTexto"/>
          <p:cNvSpPr txBox="1">
            <a:spLocks noChangeArrowheads="1"/>
          </p:cNvSpPr>
          <p:nvPr/>
        </p:nvSpPr>
        <p:spPr bwMode="auto">
          <a:xfrm flipH="1">
            <a:off x="5033461" y="4088270"/>
            <a:ext cx="3965684" cy="307777"/>
          </a:xfrm>
          <a:prstGeom prst="rect">
            <a:avLst/>
          </a:prstGeom>
          <a:solidFill>
            <a:srgbClr val="E36B1A"/>
          </a:solidFill>
          <a:ln w="38100" cap="flat" cmpd="sng" algn="ctr">
            <a:solidFill>
              <a:srgbClr val="E36B1A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ESTADO ACTUAL</a:t>
            </a:r>
          </a:p>
        </p:txBody>
      </p:sp>
      <p:sp>
        <p:nvSpPr>
          <p:cNvPr id="10" name="30 CuadroTexto"/>
          <p:cNvSpPr txBox="1">
            <a:spLocks noChangeArrowheads="1"/>
          </p:cNvSpPr>
          <p:nvPr/>
        </p:nvSpPr>
        <p:spPr bwMode="auto">
          <a:xfrm flipH="1">
            <a:off x="5033461" y="1825684"/>
            <a:ext cx="3965684" cy="319639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INFORMACIÓN GENERAL</a:t>
            </a:r>
          </a:p>
        </p:txBody>
      </p:sp>
      <p:graphicFrame>
        <p:nvGraphicFramePr>
          <p:cNvPr id="11" name="5 Tabla"/>
          <p:cNvGraphicFramePr>
            <a:graphicFrameLocks noGrp="1"/>
          </p:cNvGraphicFramePr>
          <p:nvPr>
            <p:extLst/>
          </p:nvPr>
        </p:nvGraphicFramePr>
        <p:xfrm>
          <a:off x="5033461" y="4473631"/>
          <a:ext cx="3984448" cy="2672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1674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170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2669">
                <a:tc>
                  <a:txBody>
                    <a:bodyPr/>
                    <a:lstStyle/>
                    <a:p>
                      <a:r>
                        <a:rPr lang="es-ES" sz="1200" u="none" strike="noStrike" dirty="0">
                          <a:effectLst/>
                          <a:latin typeface="Candara" panose="020E0502030303020204" pitchFamily="34" charset="0"/>
                        </a:rPr>
                        <a:t>AVANCE</a:t>
                      </a:r>
                      <a:r>
                        <a:rPr lang="es-ES" sz="1200" u="none" strike="noStrike" baseline="0" dirty="0">
                          <a:effectLst/>
                          <a:latin typeface="Candara" panose="020E0502030303020204" pitchFamily="34" charset="0"/>
                        </a:rPr>
                        <a:t> DE </a:t>
                      </a:r>
                      <a:r>
                        <a:rPr lang="es-ES" sz="1200" u="none" strike="noStrike" dirty="0">
                          <a:effectLst/>
                          <a:latin typeface="Candara" panose="020E0502030303020204" pitchFamily="34" charset="0"/>
                        </a:rPr>
                        <a:t>OBRA </a:t>
                      </a:r>
                      <a:endParaRPr lang="es-CO" sz="12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2" name="Tabla 11"/>
          <p:cNvGraphicFramePr>
            <a:graphicFrameLocks noGrp="1"/>
          </p:cNvGraphicFramePr>
          <p:nvPr>
            <p:extLst/>
          </p:nvPr>
        </p:nvGraphicFramePr>
        <p:xfrm>
          <a:off x="5033462" y="2238628"/>
          <a:ext cx="3965683" cy="177205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6438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2180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03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ES" sz="1050" kern="1200" dirty="0">
                          <a:latin typeface="Candara" panose="020E0502030303020204" pitchFamily="34" charset="0"/>
                        </a:rPr>
                        <a:t>Valor del proyecto (ACTUAL)</a:t>
                      </a:r>
                      <a:endParaRPr lang="es-CO" sz="1050" b="1" kern="1200" dirty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$ 128.280.554.96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4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latin typeface="Candara" panose="020E0502030303020204" pitchFamily="34" charset="0"/>
                        </a:rPr>
                        <a:t>Inversión en el Dpto. de Cundinamarca</a:t>
                      </a:r>
                      <a:endParaRPr lang="es-CO" sz="1050" b="1" kern="1200" dirty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$ 55.839.307.32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1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latin typeface="Candara" panose="020E0502030303020204" pitchFamily="34" charset="0"/>
                        </a:rPr>
                        <a:t>Inversión en el Dpto. de Boyacá</a:t>
                      </a:r>
                      <a:endParaRPr lang="es-CO" sz="1050" b="1" kern="1200" dirty="0">
                        <a:solidFill>
                          <a:schemeClr val="tx1"/>
                        </a:solidFill>
                        <a:latin typeface="Candara" panose="020E05020303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$ 72.441.247.63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6354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effectLst/>
                          <a:latin typeface="Candara" panose="020E0502030303020204" pitchFamily="34" charset="0"/>
                        </a:rPr>
                        <a:t>Fecha Inicio del Contrato</a:t>
                      </a:r>
                      <a:endParaRPr lang="es-MX" sz="1050" b="1" kern="1200" dirty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01 de Nov. de 2013</a:t>
                      </a:r>
                      <a:endParaRPr lang="es-MX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550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kern="1200" dirty="0">
                          <a:effectLst/>
                          <a:latin typeface="Candara" panose="020E0502030303020204" pitchFamily="34" charset="0"/>
                        </a:rPr>
                        <a:t>Fecha Finalización del Contrato</a:t>
                      </a:r>
                      <a:endParaRPr lang="es-MX" sz="1050" b="1" kern="1200" dirty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0 de Nov. de 2016</a:t>
                      </a:r>
                      <a:endParaRPr lang="es-MX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25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u="none" strike="noStrike" dirty="0">
                          <a:effectLst/>
                          <a:latin typeface="Candara" panose="020E0502030303020204" pitchFamily="34" charset="0"/>
                        </a:rPr>
                        <a:t>Fecha</a:t>
                      </a:r>
                      <a:r>
                        <a:rPr lang="es-ES" sz="1050" u="none" strike="noStrike" baseline="0" dirty="0">
                          <a:effectLst/>
                          <a:latin typeface="Candara" panose="020E0502030303020204" pitchFamily="34" charset="0"/>
                        </a:rPr>
                        <a:t> inicio de obras </a:t>
                      </a:r>
                      <a:endParaRPr lang="es-ES" sz="1050" b="1" u="none" strike="noStrike" dirty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5</a:t>
                      </a:r>
                      <a:r>
                        <a:rPr lang="es-CO" sz="1050" b="1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Abr </a:t>
                      </a: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 2014</a:t>
                      </a: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9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u="none" strike="noStrike" dirty="0">
                          <a:effectLst/>
                          <a:latin typeface="Candara" panose="020E0502030303020204" pitchFamily="34" charset="0"/>
                        </a:rPr>
                        <a:t>Fecha culminación Obras </a:t>
                      </a:r>
                      <a:endParaRPr lang="es-ES" sz="1050" b="1" u="none" strike="noStrike" dirty="0">
                        <a:solidFill>
                          <a:srgbClr val="094677"/>
                        </a:solidFill>
                        <a:effectLst/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marR="0" indent="0" algn="ctr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31 de Dic</a:t>
                      </a:r>
                      <a:r>
                        <a:rPr lang="es-CO" sz="1050" b="1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de </a:t>
                      </a:r>
                      <a:r>
                        <a:rPr lang="es-CO" sz="105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2015</a:t>
                      </a:r>
                      <a:endParaRPr lang="es-MX" sz="1050" b="1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13" name="5 Tabla"/>
          <p:cNvGraphicFramePr>
            <a:graphicFrameLocks noGrp="1"/>
          </p:cNvGraphicFramePr>
          <p:nvPr>
            <p:extLst/>
          </p:nvPr>
        </p:nvGraphicFramePr>
        <p:xfrm>
          <a:off x="5033461" y="4815426"/>
          <a:ext cx="3984448" cy="4196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9844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2997">
                <a:tc>
                  <a:txBody>
                    <a:bodyPr/>
                    <a:lstStyle/>
                    <a:p>
                      <a:r>
                        <a:rPr lang="es-CO" sz="1100" b="1" dirty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Se</a:t>
                      </a:r>
                      <a:r>
                        <a:rPr lang="es-CO" sz="1100" b="1" baseline="0" dirty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continua con actividades de mantenimiento, control de tráfico, administración y vigilancia.</a:t>
                      </a:r>
                      <a:endParaRPr lang="es-CO" sz="11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4" name="1 Título"/>
          <p:cNvSpPr txBox="1">
            <a:spLocks/>
          </p:cNvSpPr>
          <p:nvPr/>
        </p:nvSpPr>
        <p:spPr bwMode="auto">
          <a:xfrm>
            <a:off x="1920880" y="5477138"/>
            <a:ext cx="2976349" cy="885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5pPr>
            <a:lvl6pPr marL="422041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6pPr>
            <a:lvl7pPr marL="844083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7pPr>
            <a:lvl8pPr marL="1266124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8pPr>
            <a:lvl9pPr marL="1688165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altLang="es-MX" sz="1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Área Influencia del Proyecto</a:t>
            </a:r>
            <a:r>
              <a:rPr lang="es-ES_tradnl" altLang="es-MX" sz="1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/>
            </a:r>
            <a:br>
              <a:rPr lang="es-ES_tradnl" altLang="es-MX" sz="1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</a:br>
            <a:r>
              <a:rPr lang="es-ES_tradnl" altLang="es-MX" sz="1200" b="0" dirty="0">
                <a:solidFill>
                  <a:srgbClr val="7030A0"/>
                </a:solidFill>
                <a:latin typeface="Candara" panose="020E0502030303020204" pitchFamily="34" charset="0"/>
              </a:rPr>
              <a:t>Cundinamarca- Boyacá</a:t>
            </a:r>
            <a:r>
              <a:rPr lang="es-ES_tradnl" altLang="es-MX" sz="1200" b="0" i="1" dirty="0">
                <a:solidFill>
                  <a:schemeClr val="tx2"/>
                </a:solidFill>
                <a:latin typeface="Candara" panose="020E0502030303020204" pitchFamily="34" charset="0"/>
              </a:rPr>
              <a:t/>
            </a:r>
            <a:br>
              <a:rPr lang="es-ES_tradnl" altLang="es-MX" sz="1200" b="0" i="1" dirty="0">
                <a:solidFill>
                  <a:schemeClr val="tx2"/>
                </a:solidFill>
                <a:latin typeface="Candara" panose="020E0502030303020204" pitchFamily="34" charset="0"/>
              </a:rPr>
            </a:br>
            <a:endParaRPr lang="es-CO" altLang="es-MX" sz="1200" b="0" i="1" dirty="0">
              <a:solidFill>
                <a:schemeClr val="tx2"/>
              </a:solidFill>
              <a:latin typeface="Candara" panose="020E0502030303020204" pitchFamily="34" charset="0"/>
            </a:endParaRPr>
          </a:p>
        </p:txBody>
      </p:sp>
      <p:pic>
        <p:nvPicPr>
          <p:cNvPr id="15" name="Picture 4" descr="http://www.phoboscenter.es/wp-content/uploads/2013/11/ok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9054" y="5756168"/>
            <a:ext cx="1130684" cy="850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Tabla 15"/>
          <p:cNvGraphicFramePr>
            <a:graphicFrameLocks noGrp="1"/>
          </p:cNvGraphicFramePr>
          <p:nvPr>
            <p:extLst/>
          </p:nvPr>
        </p:nvGraphicFramePr>
        <p:xfrm>
          <a:off x="5033461" y="5309621"/>
          <a:ext cx="3984448" cy="893095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2202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818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3886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financier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96,60 %         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9807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Obras culminadas a la Fech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72/72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8013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91.89 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389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Obra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100 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pSp>
        <p:nvGrpSpPr>
          <p:cNvPr id="17" name="Grupo 16"/>
          <p:cNvGrpSpPr/>
          <p:nvPr/>
        </p:nvGrpSpPr>
        <p:grpSpPr>
          <a:xfrm>
            <a:off x="2533834" y="1054502"/>
            <a:ext cx="6827450" cy="604927"/>
            <a:chOff x="-53556" y="130555"/>
            <a:chExt cx="8980263" cy="829089"/>
          </a:xfrm>
        </p:grpSpPr>
        <p:sp>
          <p:nvSpPr>
            <p:cNvPr id="18" name="Rectángulo 17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19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566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>
                  <a:latin typeface="Candara" panose="020E0502030303020204" pitchFamily="34" charset="0"/>
                  <a:sym typeface="Helvetica Neue Bold Condensed"/>
                </a:rPr>
                <a:t>BOGOTÁ- BELENCIT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07520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5741377" y="1281758"/>
            <a:ext cx="3192016" cy="261610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s-CO"/>
            </a:defPPr>
            <a:lvl1pPr marL="457200" marR="0" lvl="0" indent="-457200" algn="ctr" defTabSz="914400" eaLnBrk="1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050" dirty="0">
                <a:latin typeface="+mj-lt"/>
              </a:rPr>
              <a:t>DATOS TÉCNICOS</a:t>
            </a:r>
          </a:p>
        </p:txBody>
      </p:sp>
      <p:graphicFrame>
        <p:nvGraphicFramePr>
          <p:cNvPr id="21" name="Tabla 20"/>
          <p:cNvGraphicFramePr>
            <a:graphicFrameLocks noGrp="1"/>
          </p:cNvGraphicFramePr>
          <p:nvPr>
            <p:extLst/>
          </p:nvPr>
        </p:nvGraphicFramePr>
        <p:xfrm>
          <a:off x="5741377" y="1612892"/>
          <a:ext cx="3192016" cy="1000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5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104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44441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>
                          <a:solidFill>
                            <a:srgbClr val="094677"/>
                          </a:solidFill>
                        </a:rPr>
                        <a:t>Long. </a:t>
                      </a:r>
                      <a:r>
                        <a:rPr lang="es-ES" sz="1050" baseline="0" dirty="0">
                          <a:solidFill>
                            <a:srgbClr val="094677"/>
                          </a:solidFill>
                        </a:rPr>
                        <a:t>Tramo Férreo Contractual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>
                          <a:solidFill>
                            <a:srgbClr val="094677"/>
                          </a:solidFill>
                        </a:rPr>
                        <a:t>318,3 </a:t>
                      </a:r>
                      <a:r>
                        <a:rPr lang="es-ES" sz="1050" baseline="0" dirty="0">
                          <a:solidFill>
                            <a:srgbClr val="094677"/>
                          </a:solidFill>
                        </a:rPr>
                        <a:t>Km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0492">
                <a:tc>
                  <a:txBody>
                    <a:bodyPr/>
                    <a:lstStyle/>
                    <a:p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acatativá – Bogotá– Belencito</a:t>
                      </a: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dirty="0">
                          <a:solidFill>
                            <a:srgbClr val="094677"/>
                          </a:solidFill>
                        </a:rPr>
                        <a:t>297,9 Km</a:t>
                      </a:r>
                      <a:endParaRPr lang="es-CO" sz="1050" b="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7982">
                <a:tc>
                  <a:txBody>
                    <a:bodyPr/>
                    <a:lstStyle/>
                    <a:p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 Caro - Zipaquirá</a:t>
                      </a: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dirty="0">
                          <a:solidFill>
                            <a:srgbClr val="094677"/>
                          </a:solidFill>
                        </a:rPr>
                        <a:t>20,4 Km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23" name="7 Tabla"/>
          <p:cNvGraphicFramePr>
            <a:graphicFrameLocks noGrp="1"/>
          </p:cNvGraphicFramePr>
          <p:nvPr>
            <p:extLst/>
          </p:nvPr>
        </p:nvGraphicFramePr>
        <p:xfrm>
          <a:off x="1901393" y="1706567"/>
          <a:ext cx="3558229" cy="449123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5582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13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kern="1200" dirty="0">
                          <a:effectLst/>
                        </a:rPr>
                        <a:t>GESTIÓN</a:t>
                      </a:r>
                      <a:endParaRPr lang="es-CO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22120"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MX" sz="1050" b="1" kern="1200" dirty="0">
                          <a:effectLst/>
                        </a:rPr>
                        <a:t>DESCRIPCIÓN DEL ESTADO ACTUAL </a:t>
                      </a:r>
                    </a:p>
                    <a:p>
                      <a:pPr marL="438150" lvl="1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dirty="0">
                          <a:effectLst/>
                        </a:rPr>
                        <a:t>Corredor</a:t>
                      </a:r>
                      <a:r>
                        <a:rPr lang="es-MX" sz="1050" baseline="0" dirty="0">
                          <a:effectLst/>
                        </a:rPr>
                        <a:t> férreo con conectividad Facatativá – Bogotá – Belencito 297,9 Km.</a:t>
                      </a:r>
                    </a:p>
                    <a:p>
                      <a:pPr marL="438150" lvl="1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50" baseline="0" dirty="0">
                          <a:effectLst/>
                        </a:rPr>
                        <a:t>Conectividad del corredor férreo La Caro - Zipaquirá 20,4 Km</a:t>
                      </a:r>
                    </a:p>
                    <a:p>
                      <a:pPr marL="438150" lvl="1" indent="-171450" algn="just">
                        <a:spcBef>
                          <a:spcPts val="4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baseline="0" dirty="0">
                          <a:effectLst/>
                        </a:rPr>
                        <a:t>Terminación de las obras contractuales sobre la línea principal (72/72)</a:t>
                      </a:r>
                    </a:p>
                    <a:p>
                      <a:pPr marL="438150" lvl="1" indent="-171450" algn="just">
                        <a:spcBef>
                          <a:spcPts val="4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baseline="0" dirty="0">
                          <a:effectLst/>
                        </a:rPr>
                        <a:t>Cumplimiento general de los ítems del contrato referidos a mantenimiento, mejoramiento, operación y control de trafico férreo </a:t>
                      </a:r>
                      <a:endParaRPr lang="es-MX" sz="105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88327">
                <a:tc>
                  <a:txBody>
                    <a:bodyPr/>
                    <a:lstStyle/>
                    <a:p>
                      <a:pPr marL="228600" lvl="0" indent="-228600" algn="just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es-MX" sz="1050" b="1" kern="1200" dirty="0">
                          <a:effectLst/>
                        </a:rPr>
                        <a:t>ACTIVIDADES DESTACADAS : </a:t>
                      </a:r>
                    </a:p>
                    <a:p>
                      <a:pPr marL="171450" lvl="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5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ización de dos (2) trenes de prueba: 1) Tren de prueba ARGOS, 18 plataformas cada una con 30 Ton de Cemento, Belencito - Bogotá 2) Tren de prueba MOLSABANA, 3 plataformas cada una con 36 Ton de cemento,  Tocancipá – Bogotá.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050" u="none" strike="noStrike" dirty="0">
                          <a:effectLst/>
                        </a:rPr>
                        <a:t>Construcción y regularización de 2 cruces férreos a nivel que se generan por cuenta de la construcción de la variante carretera en Gachancipá.</a:t>
                      </a:r>
                      <a:endParaRPr lang="es-CO" sz="105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lvl="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5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vilización de aproximadamente 46.105 pasajeros en el tramo Bogotá Km 5 – Zipaquirá durante mayo de 2016, TURISTREN, para un acumulado de 208.808 pasajeros en  lo transcurrido del 2016</a:t>
                      </a:r>
                    </a:p>
                    <a:p>
                      <a:pPr marL="171450" lvl="0" indent="-171450" algn="just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s-CO" sz="105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6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BOGOTÁ- BELENCITO</a:t>
            </a: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/>
          </p:nvPr>
        </p:nvGraphicFramePr>
        <p:xfrm>
          <a:off x="5741377" y="2807097"/>
          <a:ext cx="3042269" cy="1717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4" name="Imagen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3072" y="4212047"/>
            <a:ext cx="2137124" cy="1656184"/>
          </a:xfrm>
          <a:prstGeom prst="rect">
            <a:avLst/>
          </a:prstGeom>
        </p:spPr>
      </p:pic>
      <p:pic>
        <p:nvPicPr>
          <p:cNvPr id="15" name="Picture 23" descr="Turistren, Cajicá, Colombia."/>
          <p:cNvPicPr>
            <a:picLocks noChangeAspect="1" noChangeArrowheads="1"/>
          </p:cNvPicPr>
          <p:nvPr/>
        </p:nvPicPr>
        <p:blipFill rotWithShape="1">
          <a:blip r:embed="rId12" cstate="print"/>
          <a:srcRect t="16130"/>
          <a:stretch/>
        </p:blipFill>
        <p:spPr bwMode="auto">
          <a:xfrm>
            <a:off x="5765040" y="4788110"/>
            <a:ext cx="3168353" cy="16437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9362639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aphicFrame>
        <p:nvGraphicFramePr>
          <p:cNvPr id="10" name="Tabla 9"/>
          <p:cNvGraphicFramePr>
            <a:graphicFrameLocks noGrp="1"/>
          </p:cNvGraphicFramePr>
          <p:nvPr>
            <p:extLst/>
          </p:nvPr>
        </p:nvGraphicFramePr>
        <p:xfrm>
          <a:off x="6950203" y="2541314"/>
          <a:ext cx="1922193" cy="113699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221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formación</a:t>
                      </a:r>
                      <a:r>
                        <a:rPr lang="es-MX" sz="1200" b="1" kern="1200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banca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41078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79+800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Cundinamarc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" name="Tabla 10"/>
          <p:cNvGraphicFramePr>
            <a:graphicFrameLocks noGrp="1"/>
          </p:cNvGraphicFramePr>
          <p:nvPr>
            <p:extLst/>
          </p:nvPr>
        </p:nvGraphicFramePr>
        <p:xfrm>
          <a:off x="7034287" y="4581069"/>
          <a:ext cx="1953140" cy="1289512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531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7360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formación</a:t>
                      </a:r>
                      <a:r>
                        <a:rPr lang="es-MX" sz="1200" b="1" kern="1200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banca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92152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– PK</a:t>
                      </a:r>
                      <a:r>
                        <a:rPr lang="es-MX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17+150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Boyacá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</a:p>
        </p:txBody>
      </p:sp>
      <p:pic>
        <p:nvPicPr>
          <p:cNvPr id="14" name="Imagen 13" descr="C:\Users\jrincon\AppData\Local\Microsoft\Windows\Temporary Internet Files\Content.Outlook\5XW34OU5\IMG-20160122-WA0003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7984" y="2208179"/>
            <a:ext cx="2428097" cy="1662208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Imagen 3" descr="image009"/>
          <p:cNvPicPr>
            <a:picLocks noChangeAspect="1" noChangeArrowheads="1"/>
          </p:cNvPicPr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2208179"/>
            <a:ext cx="2367997" cy="1686686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n 5" descr="image014"/>
          <p:cNvPicPr>
            <a:picLocks noChangeAspect="1" noChangeArrowheads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4294210"/>
            <a:ext cx="2352491" cy="1702663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7668" y="4294210"/>
            <a:ext cx="2428413" cy="1702663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Fotográfico</a:t>
                      </a:r>
                      <a:r>
                        <a:rPr lang="es-CO" sz="1600" b="1" i="0" spc="-10" baseline="0" dirty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9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BOGOTÁ- BELENCITO</a:t>
            </a:r>
          </a:p>
        </p:txBody>
      </p:sp>
    </p:spTree>
    <p:extLst>
      <p:ext uri="{BB962C8B-B14F-4D97-AF65-F5344CB8AC3E}">
        <p14:creationId xmlns:p14="http://schemas.microsoft.com/office/powerpoint/2010/main" val="6794926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Fotográfico</a:t>
                      </a:r>
                      <a:r>
                        <a:rPr lang="es-CO" sz="1600" b="1" i="0" spc="-10" baseline="0" dirty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/>
          </p:nvPr>
        </p:nvGraphicFramePr>
        <p:xfrm>
          <a:off x="6973183" y="2552047"/>
          <a:ext cx="1853945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539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strucción</a:t>
                      </a:r>
                      <a:r>
                        <a:rPr lang="es-MX" sz="1200" b="1" kern="1200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Vía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117+900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:</a:t>
                      </a:r>
                      <a:r>
                        <a:rPr lang="es-MX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yacá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/>
          </p:nvPr>
        </p:nvGraphicFramePr>
        <p:xfrm>
          <a:off x="7055562" y="4409270"/>
          <a:ext cx="1871155" cy="1498236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711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9563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1" kern="1200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econstrucción</a:t>
                      </a:r>
                      <a:r>
                        <a:rPr lang="es-MX" sz="1200" b="1" kern="1200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de Vía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188+600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Boyacá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1" name="Imagen 7" descr="image018"/>
          <p:cNvPicPr>
            <a:picLocks noChangeAspect="1" noChangeArrowheads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7713" y="2313625"/>
            <a:ext cx="2367997" cy="1690984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0034" y="2313625"/>
            <a:ext cx="2428414" cy="1653011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Imagen 11" descr="image027"/>
          <p:cNvPicPr>
            <a:picLocks noChangeAspect="1" noChangeArrowheads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7851" y="4309189"/>
            <a:ext cx="2389925" cy="1698399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magen 23"/>
          <p:cNvPicPr>
            <a:picLocks noChangeAspect="1"/>
          </p:cNvPicPr>
          <p:nvPr/>
        </p:nvPicPr>
        <p:blipFill rotWithShape="1"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0034" y="4271216"/>
            <a:ext cx="2428414" cy="1698399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tángulo 5"/>
          <p:cNvSpPr>
            <a:spLocks noChangeArrowheads="1"/>
          </p:cNvSpPr>
          <p:nvPr/>
        </p:nvSpPr>
        <p:spPr bwMode="auto">
          <a:xfrm>
            <a:off x="2251553" y="89912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BOGOTÁ- BELENCITO</a:t>
            </a:r>
          </a:p>
        </p:txBody>
      </p:sp>
    </p:spTree>
    <p:extLst>
      <p:ext uri="{BB962C8B-B14F-4D97-AF65-F5344CB8AC3E}">
        <p14:creationId xmlns:p14="http://schemas.microsoft.com/office/powerpoint/2010/main" val="2807012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186752"/>
              </p:ext>
            </p:ext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sym typeface="Candara"/>
            </a:endParaRPr>
          </a:p>
        </p:txBody>
      </p:sp>
      <p:pic>
        <p:nvPicPr>
          <p:cNvPr id="2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30" name="Rectángulo 29"/>
          <p:cNvSpPr/>
          <p:nvPr/>
        </p:nvSpPr>
        <p:spPr>
          <a:xfrm>
            <a:off x="2457049" y="346267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2533834" y="1014161"/>
            <a:ext cx="6827450" cy="714577"/>
            <a:chOff x="-53556" y="130555"/>
            <a:chExt cx="8980263" cy="979371"/>
          </a:xfrm>
        </p:grpSpPr>
        <p:sp>
          <p:nvSpPr>
            <p:cNvPr id="8" name="Rectángulo 7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9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717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>
                  <a:latin typeface="Candara" panose="020E0502030303020204" pitchFamily="34" charset="0"/>
                  <a:sym typeface="Helvetica Neue Bold Condensed"/>
                </a:rPr>
                <a:t>LA DORADA- CHIRIGUANÁ</a:t>
              </a:r>
            </a:p>
          </p:txBody>
        </p:sp>
      </p:grp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84648" y="1722046"/>
            <a:ext cx="3330560" cy="40768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4" descr="http://www.phoboscenter.es/wp-content/uploads/2013/11/ok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3795" y="5816036"/>
            <a:ext cx="1244683" cy="856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1 Título"/>
          <p:cNvSpPr txBox="1">
            <a:spLocks/>
          </p:cNvSpPr>
          <p:nvPr/>
        </p:nvSpPr>
        <p:spPr bwMode="auto">
          <a:xfrm>
            <a:off x="1854506" y="5911331"/>
            <a:ext cx="2482104" cy="839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92" b="1">
                <a:solidFill>
                  <a:schemeClr val="tx1"/>
                </a:solidFill>
                <a:latin typeface="Calibri" pitchFamily="34" charset="0"/>
              </a:defRPr>
            </a:lvl5pPr>
            <a:lvl6pPr marL="422041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6pPr>
            <a:lvl7pPr marL="844083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7pPr>
            <a:lvl8pPr marL="1266124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8pPr>
            <a:lvl9pPr marL="1688165" algn="ctr" rtl="0" eaLnBrk="1" fontAlgn="base" hangingPunct="1">
              <a:spcBef>
                <a:spcPct val="0"/>
              </a:spcBef>
              <a:spcAft>
                <a:spcPct val="0"/>
              </a:spcAft>
              <a:defRPr sz="4062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altLang="es-MX" sz="16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partamentos influencia:</a:t>
            </a:r>
            <a:r>
              <a:rPr lang="es-ES_tradnl" altLang="es-MX" sz="16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ES_tradnl" altLang="es-MX" sz="16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ES_tradnl" altLang="es-MX" sz="1400" i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ldas, Antioquia, Santander, </a:t>
            </a:r>
          </a:p>
          <a:p>
            <a:pPr algn="l"/>
            <a:r>
              <a:rPr lang="es-ES_tradnl" altLang="es-MX" sz="1400" i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rte de Santander y Cesar</a:t>
            </a:r>
            <a:r>
              <a:rPr lang="es-ES_tradnl" altLang="es-MX" sz="1100" b="0" i="1" dirty="0">
                <a:solidFill>
                  <a:schemeClr val="tx2"/>
                </a:solidFill>
              </a:rPr>
              <a:t/>
            </a:r>
            <a:br>
              <a:rPr lang="es-ES_tradnl" altLang="es-MX" sz="1100" b="0" i="1" dirty="0">
                <a:solidFill>
                  <a:schemeClr val="tx2"/>
                </a:solidFill>
              </a:rPr>
            </a:br>
            <a:endParaRPr lang="es-CO" altLang="es-MX" sz="1100" b="0" i="1" dirty="0">
              <a:solidFill>
                <a:schemeClr val="tx2"/>
              </a:solidFill>
            </a:endParaRPr>
          </a:p>
        </p:txBody>
      </p:sp>
      <p:sp>
        <p:nvSpPr>
          <p:cNvPr id="14" name="30 CuadroTexto"/>
          <p:cNvSpPr txBox="1">
            <a:spLocks noChangeArrowheads="1"/>
          </p:cNvSpPr>
          <p:nvPr/>
        </p:nvSpPr>
        <p:spPr bwMode="auto">
          <a:xfrm flipH="1">
            <a:off x="5218478" y="1769603"/>
            <a:ext cx="3802455" cy="307777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INFORMACIÓN GENERAL</a:t>
            </a:r>
          </a:p>
        </p:txBody>
      </p:sp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594151"/>
              </p:ext>
            </p:extLst>
          </p:nvPr>
        </p:nvGraphicFramePr>
        <p:xfrm>
          <a:off x="5218478" y="2178262"/>
          <a:ext cx="3802455" cy="1420836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4463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561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6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E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lor del proyecto (ACTUAL)</a:t>
                      </a:r>
                      <a:endParaRPr lang="es-CO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u="none" strike="noStrike" kern="1200" dirty="0">
                          <a:effectLst/>
                        </a:rPr>
                        <a:t> $ </a:t>
                      </a:r>
                      <a:r>
                        <a:rPr lang="es-CO" sz="1000" kern="1200" dirty="0">
                          <a:effectLst/>
                        </a:rPr>
                        <a:t>114.155,581</a:t>
                      </a:r>
                      <a:endParaRPr lang="es-CO" sz="1000" b="1" kern="1200" dirty="0">
                        <a:solidFill>
                          <a:schemeClr val="accent1">
                            <a:lumMod val="2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792" marR="8792" marT="8792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Caldas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4.950,31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Antioquia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5.789,34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Santande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3.472,99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Norte de Santande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519,56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rsión en el Dpto. de Cesar</a:t>
                      </a: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0"/>
                        </a:spcAft>
                      </a:pPr>
                      <a:r>
                        <a:rPr lang="es-CO" sz="1000" kern="1200" dirty="0"/>
                        <a:t>$COP 39.423,38 </a:t>
                      </a:r>
                      <a:endParaRPr lang="es-CO" sz="1000" kern="1200" dirty="0">
                        <a:solidFill>
                          <a:schemeClr val="accent1">
                            <a:lumMod val="2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723624"/>
              </p:ext>
            </p:extLst>
          </p:nvPr>
        </p:nvGraphicFramePr>
        <p:xfrm>
          <a:off x="5214796" y="3637475"/>
          <a:ext cx="3806138" cy="883920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8406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0941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5611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2098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Inicio del Contrato</a:t>
                      </a:r>
                      <a:endParaRPr lang="es-MX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kern="1200" dirty="0"/>
                        <a:t>01 de nov. de 2013</a:t>
                      </a:r>
                      <a:endParaRPr lang="es-MX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098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Finalización del Contrato</a:t>
                      </a:r>
                      <a:endParaRPr lang="es-MX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kern="1200" dirty="0"/>
                        <a:t>30 de nov. de 2016</a:t>
                      </a:r>
                      <a:endParaRPr lang="es-MX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098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inicio de obras priorizadas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 marL="7144" marR="7144" marT="7144" marB="0" anchor="ctr"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CO" sz="1000" b="0" kern="1200" dirty="0"/>
                        <a:t>30 de mar. de 2014</a:t>
                      </a: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098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cha culminación Obras 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0" kern="1200" dirty="0"/>
                        <a:t>30 de marzo 2015</a:t>
                      </a:r>
                      <a:endParaRPr lang="es-MX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7" name="30 CuadroTexto"/>
          <p:cNvSpPr txBox="1">
            <a:spLocks noChangeArrowheads="1"/>
          </p:cNvSpPr>
          <p:nvPr/>
        </p:nvSpPr>
        <p:spPr bwMode="auto">
          <a:xfrm flipH="1">
            <a:off x="5214795" y="4542571"/>
            <a:ext cx="3806137" cy="252000"/>
          </a:xfrm>
          <a:prstGeom prst="rect">
            <a:avLst/>
          </a:prstGeom>
          <a:solidFill>
            <a:srgbClr val="E36B1A"/>
          </a:solidFill>
          <a:ln w="38100" cap="flat" cmpd="sng" algn="ctr">
            <a:solidFill>
              <a:srgbClr val="E36B1A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4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ESTADO ACTUAL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040319"/>
              </p:ext>
            </p:extLst>
          </p:nvPr>
        </p:nvGraphicFramePr>
        <p:xfrm>
          <a:off x="5198748" y="4888245"/>
          <a:ext cx="3822185" cy="787580"/>
        </p:xfrm>
        <a:graphic>
          <a:graphicData uri="http://schemas.openxmlformats.org/drawingml/2006/table">
            <a:tbl>
              <a:tblPr firstRow="1" firstCol="1" bandRow="1">
                <a:tableStyleId>{616DA210-FB5B-4158-B5E0-FEB733F419BA}</a:tableStyleId>
              </a:tblPr>
              <a:tblGrid>
                <a:gridCol w="24795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26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6895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financier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MX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03%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6895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Obras culminadas a la Fech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47/48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6895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Contra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89,18 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6895">
                <a:tc>
                  <a:txBody>
                    <a:bodyPr/>
                    <a:lstStyle/>
                    <a:p>
                      <a:pPr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050" kern="120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% Avance en Tiempo Obra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CO" sz="1100" dirty="0">
                          <a:effectLst/>
                        </a:rPr>
                        <a:t>98,99 %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9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90126"/>
              </p:ext>
            </p:extLst>
          </p:nvPr>
        </p:nvGraphicFramePr>
        <p:xfrm>
          <a:off x="5185066" y="5703255"/>
          <a:ext cx="3822185" cy="41968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8221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2997">
                <a:tc>
                  <a:txBody>
                    <a:bodyPr/>
                    <a:lstStyle/>
                    <a:p>
                      <a:r>
                        <a:rPr lang="es-CO" sz="1100" b="1" dirty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Se</a:t>
                      </a:r>
                      <a:r>
                        <a:rPr lang="es-CO" sz="1100" b="1" baseline="0" dirty="0">
                          <a:latin typeface="Candara" panose="020E0502030303020204" pitchFamily="34" charset="0"/>
                          <a:cs typeface="Arial" panose="020B0604020202020204" pitchFamily="34" charset="0"/>
                        </a:rPr>
                        <a:t> continúan actividades de mantenimiento, control de tráfico, administración y vigilancia.</a:t>
                      </a:r>
                      <a:endParaRPr lang="es-CO" sz="1100" b="1" dirty="0">
                        <a:latin typeface="Candara" panose="020E0502030303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>
                    <a:lnL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1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LA DORADA- CHIRIGUANÁ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5308134" y="6112634"/>
            <a:ext cx="37127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050" dirty="0"/>
              <a:t>* Datos tomados de la ultima factura del 31 de julio de 2016</a:t>
            </a:r>
          </a:p>
        </p:txBody>
      </p:sp>
    </p:spTree>
    <p:extLst>
      <p:ext uri="{BB962C8B-B14F-4D97-AF65-F5344CB8AC3E}">
        <p14:creationId xmlns:p14="http://schemas.microsoft.com/office/powerpoint/2010/main" val="29447807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-27384"/>
            <a:ext cx="1800200" cy="6845889"/>
          </a:xfrm>
          <a:prstGeom prst="rect">
            <a:avLst/>
          </a:prstGeom>
          <a:noFill/>
        </p:spPr>
      </p:pic>
      <p:sp>
        <p:nvSpPr>
          <p:cNvPr id="34" name="Rectángulo 33"/>
          <p:cNvSpPr/>
          <p:nvPr/>
        </p:nvSpPr>
        <p:spPr>
          <a:xfrm>
            <a:off x="2457049" y="387146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9" name="30 CuadroTexto"/>
          <p:cNvSpPr txBox="1">
            <a:spLocks noChangeArrowheads="1"/>
          </p:cNvSpPr>
          <p:nvPr/>
        </p:nvSpPr>
        <p:spPr bwMode="auto">
          <a:xfrm flipH="1">
            <a:off x="5851325" y="1282372"/>
            <a:ext cx="2851294" cy="276999"/>
          </a:xfrm>
          <a:prstGeom prst="rect">
            <a:avLst/>
          </a:prstGeom>
          <a:solidFill>
            <a:srgbClr val="094677"/>
          </a:solidFill>
          <a:ln w="38100" cap="flat" cmpd="sng" algn="ctr">
            <a:solidFill>
              <a:srgbClr val="094677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s-CO"/>
            </a:defPPr>
            <a:lvl1pPr marL="457200" marR="0" lvl="0" indent="-457200" algn="ctr" defTabSz="914400" eaLnBrk="1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37931725" indent="-37474525" eaLnBrk="0" hangingPunct="0">
              <a:defRPr sz="2400">
                <a:latin typeface="Arial" pitchFamily="34" charset="0"/>
                <a:cs typeface="Arial" pitchFamily="34" charset="0"/>
              </a:defRPr>
            </a:lvl2pPr>
            <a:lvl3pPr eaLnBrk="0" hangingPunct="0">
              <a:defRPr sz="2400">
                <a:latin typeface="Arial" pitchFamily="34" charset="0"/>
                <a:cs typeface="Arial" pitchFamily="34" charset="0"/>
              </a:defRPr>
            </a:lvl3pPr>
            <a:lvl4pPr eaLnBrk="0" hangingPunct="0">
              <a:defRPr sz="2400">
                <a:latin typeface="Arial" pitchFamily="34" charset="0"/>
                <a:cs typeface="Arial" pitchFamily="34" charset="0"/>
              </a:defRPr>
            </a:lvl4pPr>
            <a:lvl5pPr eaLnBrk="0" hangingPunct="0"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s-CO" sz="1200" dirty="0">
                <a:latin typeface="+mj-lt"/>
              </a:rPr>
              <a:t>LONGITUD DEL TRAMO</a:t>
            </a:r>
          </a:p>
        </p:txBody>
      </p:sp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257923"/>
              </p:ext>
            </p:extLst>
          </p:nvPr>
        </p:nvGraphicFramePr>
        <p:xfrm>
          <a:off x="5851325" y="1622248"/>
          <a:ext cx="2851294" cy="781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1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71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42802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riguaná - La Dorada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1,2 Km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3855">
                <a:tc>
                  <a:txBody>
                    <a:bodyPr/>
                    <a:lstStyle/>
                    <a:p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erto Berrío - Cabañas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,1 Km</a:t>
                      </a:r>
                      <a:endParaRPr lang="es-CO" sz="1050" b="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8913">
                <a:tc>
                  <a:txBody>
                    <a:bodyPr/>
                    <a:lstStyle/>
                    <a:p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mal Capulco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Km 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23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551825"/>
              </p:ext>
            </p:extLst>
          </p:nvPr>
        </p:nvGraphicFramePr>
        <p:xfrm>
          <a:off x="1965085" y="1281758"/>
          <a:ext cx="3705803" cy="443192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7058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854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kern="1200" dirty="0">
                          <a:effectLst/>
                        </a:rPr>
                        <a:t>GESTIÓN</a:t>
                      </a:r>
                      <a:endParaRPr lang="es-CO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75216"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MX" sz="1050" kern="1200" dirty="0">
                          <a:effectLst/>
                        </a:rPr>
                        <a:t> DESCRIPCIÓN DEL ESTADO ACTUAL 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redor férreo con conectividad La Dorada - hasta Chiriguaná - Cesar 521,2 Km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plimiento general de los ítems del contrato referidos a mantenimiento, mejoramiento, operación y control de trafico férreo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 ejecución obras Fase I – Capulco por 7.547.253.488 – Terminación estimada Septiembre 2016 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minación de las obras contractuales sobre la línea principal (47/48).</a:t>
                      </a:r>
                    </a:p>
                    <a:p>
                      <a:pPr marL="171450" lvl="1" indent="-171450" algn="just" defTabSz="914400" rtl="0" eaLnBrk="1" latinLnBrk="0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ras ejecutadas a través del Fondo Adaptación ejecutadas al 100%, contrato en proceso de liquidación.</a:t>
                      </a:r>
                      <a:endParaRPr lang="es-MX" sz="100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49824">
                <a:tc>
                  <a:txBody>
                    <a:bodyPr/>
                    <a:lstStyle/>
                    <a:p>
                      <a:pPr marL="0" lvl="0" indent="0" algn="just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MX" sz="1050" kern="1200" dirty="0">
                          <a:effectLst/>
                        </a:rPr>
                        <a:t>2. ACTIVIDADES DESTACADAS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delantan gestiones con el ministerio de Agricultura para lograr la entrega en Comodato de las instalaciones del IDEMA en Gamarra - Cesar, como centro de transferencia para la movilización del carbón de Norte. 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CO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 adelanta las mesas de trabajo con Holdtrade para dar inicio a la operación temprana en el mes de noviembre de 2015 y lograr la realización del tren de prueba Santa Marta – La Dorada, en el mes de octubre de 2016.</a:t>
                      </a:r>
                    </a:p>
                    <a:p>
                      <a:pPr marL="171450" lvl="1" indent="-171450" algn="just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MX" sz="10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vilización de 5.772 Pasajeros en el agosto de 2016, acumulado año 46.340 Pasajeros movilizados y durante el contrato de 206.275 pasajeros.</a:t>
                      </a: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4" name="Imagen 13" descr="C:\Users\npaez\AppData\Local\Microsoft\Windows\Temporary Internet Files\Content.Outlook\4QPL8XUL\IMG-20151021-WA0005.jpg"/>
          <p:cNvPicPr>
            <a:picLocks noChangeAspect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2835" y="4256528"/>
            <a:ext cx="2839784" cy="198290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LA DORADA- CHIRIGUANÁ</a:t>
            </a:r>
          </a:p>
        </p:txBody>
      </p:sp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6505892"/>
              </p:ext>
            </p:extLst>
          </p:nvPr>
        </p:nvGraphicFramePr>
        <p:xfrm>
          <a:off x="5851325" y="2946097"/>
          <a:ext cx="2851294" cy="123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1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71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42802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ajeros</a:t>
                      </a:r>
                      <a:r>
                        <a:rPr lang="es-CO" sz="105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vilizados durante el contrato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6.275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3855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ajeros</a:t>
                      </a:r>
                      <a:r>
                        <a:rPr lang="es-CO" sz="105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vilizados 2016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.340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8913">
                <a:tc>
                  <a:txBody>
                    <a:bodyPr/>
                    <a:lstStyle/>
                    <a:p>
                      <a:pPr marL="0" marR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sajeros</a:t>
                      </a:r>
                      <a:r>
                        <a:rPr lang="es-CO" sz="105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vilizados Agosto 2016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71475" marR="0" lvl="1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772</a:t>
                      </a:r>
                      <a:endParaRPr lang="es-CO" sz="1050" dirty="0">
                        <a:solidFill>
                          <a:srgbClr val="094677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2" name="30 CuadroTexto"/>
          <p:cNvSpPr txBox="1">
            <a:spLocks noChangeArrowheads="1"/>
          </p:cNvSpPr>
          <p:nvPr/>
        </p:nvSpPr>
        <p:spPr bwMode="auto">
          <a:xfrm flipH="1">
            <a:off x="5862835" y="2593108"/>
            <a:ext cx="2839784" cy="276999"/>
          </a:xfrm>
          <a:prstGeom prst="rect">
            <a:avLst/>
          </a:prstGeom>
          <a:solidFill>
            <a:srgbClr val="E36B1A"/>
          </a:solidFill>
          <a:ln w="38100" cap="flat" cmpd="sng" algn="ctr">
            <a:solidFill>
              <a:srgbClr val="E36B1A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>
            <a:spAutoFit/>
          </a:bodyPr>
          <a:lstStyle>
            <a:defPPr>
              <a:defRPr lang="en-US"/>
            </a:defPPr>
            <a:lvl1pPr marL="457200" indent="-457200" algn="ctr" fontAlgn="base">
              <a:spcBef>
                <a:spcPts val="600"/>
              </a:spcBef>
              <a:spcAft>
                <a:spcPct val="0"/>
              </a:spcAft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defRPr>
            </a:lvl1pPr>
            <a:lvl2pPr marL="37931725" indent="-37474525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itchFamily="34" charset="0"/>
                <a:cs typeface="Arial" pitchFamily="34" charset="0"/>
              </a:defRPr>
            </a:lvl9pPr>
          </a:lstStyle>
          <a:p>
            <a:pPr marL="422041" indent="-422041" defTabSz="844083">
              <a:spcBef>
                <a:spcPts val="554"/>
              </a:spcBef>
              <a:defRPr/>
            </a:pPr>
            <a:r>
              <a:rPr lang="es-CO" sz="1200" kern="0" dirty="0">
                <a:solidFill>
                  <a:prstClr val="white"/>
                </a:solidFill>
                <a:latin typeface="Candara" panose="020E0502030303020204" pitchFamily="34" charset="0"/>
                <a:cs typeface="Arial" pitchFamily="34" charset="0"/>
              </a:rPr>
              <a:t>PASAJEROS MOVILIZADOS</a:t>
            </a:r>
          </a:p>
        </p:txBody>
      </p:sp>
    </p:spTree>
    <p:extLst>
      <p:ext uri="{BB962C8B-B14F-4D97-AF65-F5344CB8AC3E}">
        <p14:creationId xmlns:p14="http://schemas.microsoft.com/office/powerpoint/2010/main" val="3961605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1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688" y="1313336"/>
            <a:ext cx="4680520" cy="3759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921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Fotográfico</a:t>
                      </a:r>
                      <a:r>
                        <a:rPr lang="es-CO" sz="1600" b="1" i="0" spc="-10" baseline="0" dirty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23" name="24 Imagen" descr="C:\P1137 VHPA 200115\Puntos Criticos\Actas de Recibo Final\Fotos iniciales\PC 16 Ini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2887" y="2208179"/>
            <a:ext cx="2336575" cy="16866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4 Imagen" descr="C:\Users\GESTORASOCIAL JUNIOR\AppData\Local\Temp\Rar$DI08.035\Foto0021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6971" y="4408521"/>
            <a:ext cx="2336575" cy="168358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Imagen 24" descr="F:\Recorrido abril 2015\IMG_0028.JPG"/>
          <p:cNvPicPr/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5389" y="2208192"/>
            <a:ext cx="2322949" cy="168667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Imagen 25" descr="F:\Recorrido abril 2015\IMG_0016.JPG"/>
          <p:cNvPicPr/>
          <p:nvPr/>
        </p:nvPicPr>
        <p:blipFill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575" y="4408521"/>
            <a:ext cx="2336575" cy="168340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7" name="Tab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644358"/>
              </p:ext>
            </p:extLst>
          </p:nvPr>
        </p:nvGraphicFramePr>
        <p:xfrm>
          <a:off x="6904427" y="2451639"/>
          <a:ext cx="1967011" cy="134459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670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10062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29 - Box </a:t>
                      </a:r>
                      <a:r>
                        <a:rPr lang="es-MX" sz="1200" b="1" kern="1200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Culvert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34531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445 Departamento: Santander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8" name="Tab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5420928"/>
              </p:ext>
            </p:extLst>
          </p:nvPr>
        </p:nvGraphicFramePr>
        <p:xfrm>
          <a:off x="6910537" y="4677337"/>
          <a:ext cx="1954790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9547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0 – Alcantarill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889 Departamento: Santander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9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LA DORADA- CHIRIGUANÁ</a:t>
            </a:r>
          </a:p>
        </p:txBody>
      </p:sp>
    </p:spTree>
    <p:extLst>
      <p:ext uri="{BB962C8B-B14F-4D97-AF65-F5344CB8AC3E}">
        <p14:creationId xmlns:p14="http://schemas.microsoft.com/office/powerpoint/2010/main" val="19116637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pic>
        <p:nvPicPr>
          <p:cNvPr id="3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40" name="Rectángulo 39"/>
          <p:cNvSpPr/>
          <p:nvPr/>
        </p:nvSpPr>
        <p:spPr>
          <a:xfrm>
            <a:off x="2457049" y="35971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457049" y="1485825"/>
            <a:ext cx="10361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nte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723093" y="1485825"/>
            <a:ext cx="144302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dirty="0">
                <a:solidFill>
                  <a:srgbClr val="A5002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espués</a:t>
            </a: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/>
          </p:nvPr>
        </p:nvGraphicFramePr>
        <p:xfrm>
          <a:off x="1751654" y="1152690"/>
          <a:ext cx="5826872" cy="248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268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8045">
                <a:tc>
                  <a:txBody>
                    <a:bodyPr/>
                    <a:lstStyle/>
                    <a:p>
                      <a:pPr algn="just"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es-CO" sz="1600" b="1" i="0" spc="-10" dirty="0">
                          <a:effectLst/>
                          <a:latin typeface="Candara" panose="020E0502030303020204" pitchFamily="34" charset="0"/>
                        </a:rPr>
                        <a:t>Registro Fotográfico</a:t>
                      </a:r>
                      <a:r>
                        <a:rPr lang="es-CO" sz="1600" b="1" i="0" spc="-10" baseline="0" dirty="0">
                          <a:effectLst/>
                          <a:latin typeface="Candara" panose="020E0502030303020204" pitchFamily="34" charset="0"/>
                        </a:rPr>
                        <a:t>- Obras Terminadas</a:t>
                      </a:r>
                      <a:endParaRPr lang="es-MX" sz="1600" b="1" i="0" dirty="0">
                        <a:effectLst/>
                        <a:latin typeface="Candara" panose="020E0502030303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9535" marR="89535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7" name="Imagen 16"/>
          <p:cNvPicPr>
            <a:picLocks noChangeAspect="1"/>
          </p:cNvPicPr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2887" y="2208179"/>
            <a:ext cx="2327118" cy="1686686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Imagen 18" descr="C:\Users\npaez\Desktop\Registro Fotografico\Registro Fotografico Dorada - Chiriguana\Comisón Contraloria 418-2013\IMG_4724.JPG"/>
          <p:cNvPicPr/>
          <p:nvPr/>
        </p:nvPicPr>
        <p:blipFill>
          <a:blip r:embed="rId11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3193" y="2203130"/>
            <a:ext cx="2210705" cy="169173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725099"/>
              </p:ext>
            </p:extLst>
          </p:nvPr>
        </p:nvGraphicFramePr>
        <p:xfrm>
          <a:off x="6918886" y="2385717"/>
          <a:ext cx="2054934" cy="157587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49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9 – Conformación </a:t>
                      </a:r>
                      <a:r>
                        <a:rPr lang="es-MX" sz="1200" b="1" kern="1200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erraplen</a:t>
                      </a:r>
                      <a:endParaRPr lang="es-MX" sz="1200" b="1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98+810</a:t>
                      </a:r>
                    </a:p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artamento: Cesar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9" name="Imagen 28"/>
          <p:cNvPicPr>
            <a:picLocks noChangeAspect="1"/>
          </p:cNvPicPr>
          <p:nvPr/>
        </p:nvPicPr>
        <p:blipFill>
          <a:blip r:embed="rId12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6971" y="4408521"/>
            <a:ext cx="2336575" cy="171326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Imagen 29" descr="F:\Recorrido abril 2015\IMG_9910.JPG"/>
          <p:cNvPicPr/>
          <p:nvPr/>
        </p:nvPicPr>
        <p:blipFill>
          <a:blip r:embed="rId13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446" y="4408520"/>
            <a:ext cx="2358198" cy="168340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1" name="Tabla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643668"/>
              </p:ext>
            </p:extLst>
          </p:nvPr>
        </p:nvGraphicFramePr>
        <p:xfrm>
          <a:off x="6916648" y="4542927"/>
          <a:ext cx="2057172" cy="14145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0571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5916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C 30 – Alcantarill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8673">
                <a:tc>
                  <a:txBody>
                    <a:bodyPr/>
                    <a:lstStyle/>
                    <a:p>
                      <a:r>
                        <a:rPr lang="es-MX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bicación - PK  511+889 Departamento: Santander</a:t>
                      </a:r>
                    </a:p>
                    <a:p>
                      <a:endParaRPr lang="es-MX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946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2" name="Rectángulo 5"/>
          <p:cNvSpPr>
            <a:spLocks noChangeArrowheads="1"/>
          </p:cNvSpPr>
          <p:nvPr/>
        </p:nvSpPr>
        <p:spPr bwMode="auto">
          <a:xfrm>
            <a:off x="1885179" y="70277"/>
            <a:ext cx="4902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b="1" dirty="0">
                <a:latin typeface="Candara" panose="020E0502030303020204" pitchFamily="34" charset="0"/>
                <a:sym typeface="Helvetica Neue Bold Condensed"/>
              </a:rPr>
              <a:t>LA DORADA- CHIRIGUANÁ</a:t>
            </a:r>
          </a:p>
        </p:txBody>
      </p:sp>
    </p:spTree>
    <p:extLst>
      <p:ext uri="{BB962C8B-B14F-4D97-AF65-F5344CB8AC3E}">
        <p14:creationId xmlns:p14="http://schemas.microsoft.com/office/powerpoint/2010/main" val="24130145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074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27" name="Rectángulo 26"/>
          <p:cNvSpPr/>
          <p:nvPr/>
        </p:nvSpPr>
        <p:spPr>
          <a:xfrm>
            <a:off x="2457049" y="396290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28" name="Grupo 27"/>
          <p:cNvGrpSpPr/>
          <p:nvPr/>
        </p:nvGrpSpPr>
        <p:grpSpPr>
          <a:xfrm>
            <a:off x="3211295" y="1320200"/>
            <a:ext cx="5361204" cy="921600"/>
            <a:chOff x="0" y="153170"/>
            <a:chExt cx="5102200" cy="921600"/>
          </a:xfrm>
        </p:grpSpPr>
        <p:sp>
          <p:nvSpPr>
            <p:cNvPr id="29" name="Rectángulo 28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ángulo 30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Nuestras Metas 2016</a:t>
              </a:r>
            </a:p>
          </p:txBody>
        </p:sp>
      </p:grpSp>
      <p:graphicFrame>
        <p:nvGraphicFramePr>
          <p:cNvPr id="37" name="Diagrama 36"/>
          <p:cNvGraphicFramePr/>
          <p:nvPr>
            <p:extLst>
              <p:ext uri="{D42A27DB-BD31-4B8C-83A1-F6EECF244321}">
                <p14:modId xmlns:p14="http://schemas.microsoft.com/office/powerpoint/2010/main" val="3571133070"/>
              </p:ext>
            </p:extLst>
          </p:nvPr>
        </p:nvGraphicFramePr>
        <p:xfrm>
          <a:off x="3282874" y="2688352"/>
          <a:ext cx="5289625" cy="2746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145713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1927165" y="228024"/>
            <a:ext cx="4489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2800" b="1" dirty="0">
                <a:solidFill>
                  <a:schemeClr val="accent5"/>
                </a:solidFill>
                <a:latin typeface="Candara" panose="020E0502030303020204" pitchFamily="34" charset="0"/>
              </a:rPr>
              <a:t>RED FÉRREA </a:t>
            </a:r>
            <a:endParaRPr lang="es-ES" sz="2800" b="1" dirty="0"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>
                <a:latin typeface="Candara" panose="020E0502030303020204" pitchFamily="34" charset="0"/>
                <a:sym typeface="Helvetica Neue Bold Condensed"/>
              </a:rPr>
              <a:t>DEL PACÍFICO</a:t>
            </a: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329139"/>
              </p:ext>
            </p:extLst>
          </p:nvPr>
        </p:nvGraphicFramePr>
        <p:xfrm>
          <a:off x="2215043" y="1587699"/>
          <a:ext cx="6459057" cy="4273605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29523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779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582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70502">
                  <a:extLst>
                    <a:ext uri="{9D8B030D-6E8A-4147-A177-3AD203B41FA5}">
                      <a16:colId xmlns:a16="http://schemas.microsoft.com/office/drawing/2014/main" xmlns="" val="3838565110"/>
                    </a:ext>
                  </a:extLst>
                </a:gridCol>
              </a:tblGrid>
              <a:tr h="25692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Actividad</a:t>
                      </a:r>
                      <a:endParaRPr lang="es-CO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PROGRAMACIÓN</a:t>
                      </a:r>
                      <a:endParaRPr lang="es-CO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dirty="0"/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379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Unidad de Medida</a:t>
                      </a:r>
                      <a:endParaRPr lang="es-CO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Meta Año 2016</a:t>
                      </a:r>
                      <a:endParaRPr lang="es-CO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ADO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9561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Realizar mantenimiento corredor Buenaventura - La Tebaida - Zarzal - Zaragoza (380 Km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Km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380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45326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Mantener Operación Comercial de la Vía Férrea (343km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Km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343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 Ejecució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45326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 smtClean="0">
                          <a:effectLst/>
                        </a:rPr>
                        <a:t>*Realizar </a:t>
                      </a:r>
                      <a:r>
                        <a:rPr lang="es-CO" sz="1200" u="none" strike="noStrike" dirty="0">
                          <a:effectLst/>
                        </a:rPr>
                        <a:t>movilización de carga (Toneladas métricas netas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>
                          <a:effectLst/>
                        </a:rPr>
                        <a:t>Ton</a:t>
                      </a:r>
                      <a:endParaRPr lang="es-C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 smtClean="0">
                          <a:effectLst/>
                        </a:rPr>
                        <a:t>290.000/30.000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mplido</a:t>
                      </a:r>
                      <a:endParaRPr lang="es-CO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95610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Evaluar Alternativas de Expandir la Red Férrea del Pacífico (Construcción variante Yumbo- Cerrito)</a:t>
                      </a:r>
                    </a:p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>
                          <a:effectLst/>
                        </a:rPr>
                        <a:t>Documento</a:t>
                      </a:r>
                      <a:endParaRPr lang="es-C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1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jecutada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21022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Evaluar Alternativas de Expandir la Red Férrea del Pacífico (Construcción Zaragoza- Zona Franca de Pereira)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Documento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1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jecutada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CuadroTexto 4"/>
          <p:cNvSpPr txBox="1"/>
          <p:nvPr/>
        </p:nvSpPr>
        <p:spPr>
          <a:xfrm>
            <a:off x="2342049" y="6040906"/>
            <a:ext cx="6205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/>
              <a:t>*La meta de movilización de carga fue reevaluada, teniendo en  cuenta el cese de actividades por parte de la Concesión FDP.</a:t>
            </a:r>
            <a:endParaRPr lang="es-CO" sz="900" dirty="0"/>
          </a:p>
        </p:txBody>
      </p:sp>
    </p:spTree>
    <p:extLst>
      <p:ext uri="{BB962C8B-B14F-4D97-AF65-F5344CB8AC3E}">
        <p14:creationId xmlns:p14="http://schemas.microsoft.com/office/powerpoint/2010/main" val="19472635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1927165" y="228024"/>
            <a:ext cx="4489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2800" b="1" dirty="0">
                <a:solidFill>
                  <a:schemeClr val="accent5"/>
                </a:solidFill>
                <a:latin typeface="Candara" panose="020E0502030303020204" pitchFamily="34" charset="0"/>
              </a:rPr>
              <a:t>RED FÉRREA </a:t>
            </a:r>
            <a:endParaRPr lang="es-ES" sz="2800" b="1" dirty="0"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>
                <a:latin typeface="Candara" panose="020E0502030303020204" pitchFamily="34" charset="0"/>
                <a:sym typeface="Helvetica Neue Bold Condensed"/>
              </a:rPr>
              <a:t>DEL ATLÁNTICO</a:t>
            </a: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9526" y="1350628"/>
            <a:ext cx="6358855" cy="484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80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1927165" y="228024"/>
            <a:ext cx="4489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2800" b="1" dirty="0">
                <a:solidFill>
                  <a:schemeClr val="accent5"/>
                </a:solidFill>
                <a:latin typeface="Candara" panose="020E0502030303020204" pitchFamily="34" charset="0"/>
              </a:rPr>
              <a:t>RED FÉRREA </a:t>
            </a:r>
            <a:endParaRPr lang="es-ES" sz="2800" b="1" dirty="0"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7" name="Rectángulo 6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>
                <a:latin typeface="Candara" panose="020E0502030303020204" pitchFamily="34" charset="0"/>
                <a:sym typeface="Helvetica Neue Bold Condensed"/>
              </a:rPr>
              <a:t>DEL ATLÁNTICO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6580" y="1350628"/>
            <a:ext cx="6417578" cy="4890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2250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grpSp>
        <p:nvGrpSpPr>
          <p:cNvPr id="5" name="Grupo 4"/>
          <p:cNvGrpSpPr/>
          <p:nvPr/>
        </p:nvGrpSpPr>
        <p:grpSpPr>
          <a:xfrm>
            <a:off x="1874411" y="263195"/>
            <a:ext cx="6827450" cy="604927"/>
            <a:chOff x="-53556" y="130555"/>
            <a:chExt cx="8980263" cy="829089"/>
          </a:xfrm>
        </p:grpSpPr>
        <p:sp>
          <p:nvSpPr>
            <p:cNvPr id="6" name="Rectángulo 5"/>
            <p:cNvSpPr>
              <a:spLocks noChangeArrowheads="1"/>
            </p:cNvSpPr>
            <p:nvPr/>
          </p:nvSpPr>
          <p:spPr bwMode="auto">
            <a:xfrm>
              <a:off x="-53556" y="130555"/>
              <a:ext cx="5904656" cy="566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s-ES" sz="2800" b="1" dirty="0">
                  <a:solidFill>
                    <a:schemeClr val="accent5"/>
                  </a:solidFill>
                  <a:latin typeface="Candara" panose="020E0502030303020204" pitchFamily="34" charset="0"/>
                  <a:sym typeface="Helvetica Neue Bold Condensed" charset="0"/>
                </a:rPr>
                <a:t>CORREDOR</a:t>
              </a:r>
              <a:endParaRPr lang="es-ES" sz="2800" b="1" dirty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endParaRPr>
            </a:p>
          </p:txBody>
        </p:sp>
        <p:sp>
          <p:nvSpPr>
            <p:cNvPr id="7" name="Rectángulo 5"/>
            <p:cNvSpPr>
              <a:spLocks noChangeArrowheads="1"/>
            </p:cNvSpPr>
            <p:nvPr/>
          </p:nvSpPr>
          <p:spPr bwMode="auto">
            <a:xfrm>
              <a:off x="2477888" y="392821"/>
              <a:ext cx="6448819" cy="566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s-ES" sz="2800" b="1" dirty="0">
                  <a:latin typeface="Candara" panose="020E0502030303020204" pitchFamily="34" charset="0"/>
                  <a:sym typeface="Helvetica Neue Bold Condensed"/>
                </a:rPr>
                <a:t>BOGOTÁ- BELENCITO</a:t>
              </a:r>
            </a:p>
          </p:txBody>
        </p:sp>
      </p:grp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94018"/>
              </p:ext>
            </p:extLst>
          </p:nvPr>
        </p:nvGraphicFramePr>
        <p:xfrm>
          <a:off x="2030819" y="1657714"/>
          <a:ext cx="6560287" cy="4217213"/>
        </p:xfrm>
        <a:graphic>
          <a:graphicData uri="http://schemas.openxmlformats.org/drawingml/2006/table">
            <a:tbl>
              <a:tblPr>
                <a:tableStyleId>{2A488322-F2BA-4B5B-9748-0D474271808F}</a:tableStyleId>
              </a:tblPr>
              <a:tblGrid>
                <a:gridCol w="37005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363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294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93918">
                  <a:extLst>
                    <a:ext uri="{9D8B030D-6E8A-4147-A177-3AD203B41FA5}">
                      <a16:colId xmlns:a16="http://schemas.microsoft.com/office/drawing/2014/main" xmlns="" val="1407658259"/>
                    </a:ext>
                  </a:extLst>
                </a:gridCol>
              </a:tblGrid>
              <a:tr h="27123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Actividad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PROGRAMACIÓN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39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Unidad de Medida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u="none" strike="noStrike" dirty="0">
                          <a:effectLst/>
                        </a:rPr>
                        <a:t>Meta Año 216</a:t>
                      </a:r>
                      <a:endParaRPr lang="es-CO" sz="12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1" i="0" u="none" strike="noStrike" dirty="0">
                          <a:effectLst/>
                          <a:latin typeface="Calibri" panose="020F0502020204030204" pitchFamily="34" charset="0"/>
                        </a:rPr>
                        <a:t>Estado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18746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Realizar mantenimiento corredor Facatativá-Bogotá - Belencito; La Caro -Zipaquirá (318 Km)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Km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318,00 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En Ejecució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85980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Iniciar Operación temprana comercial corredor Bogotá- Belencito (  En operación actual 78 Km, Bogotá- Zipaquirá (Pasajeros) y Bogotá- Talleres El Corzo ( Vehículos de mantenimiento)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Km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318,00 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En Ejecució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46862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200" u="none" strike="noStrike" dirty="0">
                          <a:effectLst/>
                        </a:rPr>
                        <a:t>Construir y regularizar 2 cruces férreos a nivel que se generan por cuenta de la construcción de la variante carretera en Gachancipá.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 err="1">
                          <a:effectLst/>
                        </a:rPr>
                        <a:t>UND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u="none" strike="noStrike" dirty="0">
                          <a:effectLst/>
                        </a:rPr>
                        <a:t>2,00 </a:t>
                      </a:r>
                      <a:endParaRPr lang="es-CO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Cumplid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645925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5" name="Rectángulo 4"/>
          <p:cNvSpPr>
            <a:spLocks noChangeArrowheads="1"/>
          </p:cNvSpPr>
          <p:nvPr/>
        </p:nvSpPr>
        <p:spPr bwMode="auto">
          <a:xfrm>
            <a:off x="1927165" y="228024"/>
            <a:ext cx="4489150" cy="413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2800" b="1" dirty="0">
                <a:solidFill>
                  <a:schemeClr val="accent5"/>
                </a:solidFill>
                <a:latin typeface="Candara" panose="020E0502030303020204" pitchFamily="34" charset="0"/>
                <a:sym typeface="Helvetica Neue Bold Condensed" charset="0"/>
              </a:rPr>
              <a:t>CORREDOR</a:t>
            </a:r>
            <a:endParaRPr lang="es-ES" sz="28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accent5"/>
              </a:solidFill>
              <a:latin typeface="Candara" panose="020E0502030303020204" pitchFamily="34" charset="0"/>
              <a:sym typeface="Helvetica Neue Bold Condensed" charset="0"/>
            </a:endParaRPr>
          </a:p>
        </p:txBody>
      </p:sp>
      <p:sp>
        <p:nvSpPr>
          <p:cNvPr id="6" name="Rectángulo 5"/>
          <p:cNvSpPr>
            <a:spLocks noChangeArrowheads="1"/>
          </p:cNvSpPr>
          <p:nvPr/>
        </p:nvSpPr>
        <p:spPr bwMode="auto">
          <a:xfrm>
            <a:off x="3851753" y="419381"/>
            <a:ext cx="49028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s-ES" sz="2800" b="1" dirty="0">
                <a:latin typeface="Candara" panose="020E0502030303020204" pitchFamily="34" charset="0"/>
                <a:sym typeface="Helvetica Neue Bold Condensed"/>
              </a:rPr>
              <a:t>LA DORADA- CHIRIGUANÁ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9436944"/>
              </p:ext>
            </p:extLst>
          </p:nvPr>
        </p:nvGraphicFramePr>
        <p:xfrm>
          <a:off x="2162529" y="1921390"/>
          <a:ext cx="6439212" cy="3955819"/>
        </p:xfrm>
        <a:graphic>
          <a:graphicData uri="http://schemas.openxmlformats.org/drawingml/2006/table">
            <a:tbl>
              <a:tblPr>
                <a:tableStyleId>{2A488322-F2BA-4B5B-9748-0D474271808F}</a:tableStyleId>
              </a:tblPr>
              <a:tblGrid>
                <a:gridCol w="29095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67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262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6688">
                  <a:extLst>
                    <a:ext uri="{9D8B030D-6E8A-4147-A177-3AD203B41FA5}">
                      <a16:colId xmlns:a16="http://schemas.microsoft.com/office/drawing/2014/main" xmlns="" val="721010662"/>
                    </a:ext>
                  </a:extLst>
                </a:gridCol>
              </a:tblGrid>
              <a:tr h="25154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Actividad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PROGRAMACIÓN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1551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Unidad de Medida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u="none" strike="noStrike" dirty="0">
                          <a:effectLst/>
                        </a:rPr>
                        <a:t>Meta Año 216</a:t>
                      </a:r>
                      <a:endParaRPr lang="es-CO" sz="1400" b="1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Estado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30267">
                <a:tc>
                  <a:txBody>
                    <a:bodyPr/>
                    <a:lstStyle/>
                    <a:p>
                      <a:pPr marL="285750" indent="-2857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Realizar mantenimiento corredor Dorada - Chiriguaná (522 km)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522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b="0" dirty="0"/>
                        <a:t>En ejecució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54627">
                <a:tc>
                  <a:txBody>
                    <a:bodyPr/>
                    <a:lstStyle/>
                    <a:p>
                      <a:pPr marL="174625" indent="-174625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s-CO" sz="1400" u="none" strike="noStrike" dirty="0">
                          <a:effectLst/>
                        </a:rPr>
                        <a:t>Iniciar Operación temprana comercial corredor </a:t>
                      </a:r>
                      <a:r>
                        <a:rPr lang="es-MX" sz="1400" kern="1200" dirty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rada - Chiriguaná (522 km)</a:t>
                      </a:r>
                      <a:endParaRPr lang="es-CO" sz="1400" kern="1200" dirty="0">
                        <a:solidFill>
                          <a:schemeClr val="accent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>
                          <a:effectLst/>
                        </a:rPr>
                        <a:t>Km</a:t>
                      </a:r>
                      <a:endParaRPr lang="es-CO" sz="14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522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b="0" dirty="0"/>
                        <a:t>En ejecució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49082">
                <a:tc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ü"/>
                      </a:pPr>
                      <a:r>
                        <a:rPr lang="pt-BR" sz="1400" u="none" strike="noStrike" dirty="0">
                          <a:effectLst/>
                        </a:rPr>
                        <a:t>Construir Obra- Fase I - Sector Ramal Capulco</a:t>
                      </a:r>
                      <a:r>
                        <a:rPr lang="es-CO" sz="1400" u="none" strike="noStrike" dirty="0">
                          <a:effectLst/>
                        </a:rPr>
                        <a:t>.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Km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u="none" strike="noStrike" dirty="0">
                          <a:effectLst/>
                        </a:rPr>
                        <a:t>4                           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b="0" dirty="0"/>
                        <a:t>En ejecución</a:t>
                      </a:r>
                      <a:endParaRPr lang="es-CO" sz="14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6848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340078" y="204632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>
                <a:effectLst/>
                <a:latin typeface="Calibri"/>
                <a:ea typeface="Times New Roman"/>
                <a:cs typeface="Times New Roman"/>
              </a:rPr>
              <a:t>AVANCES MODO FÉRREO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8" name="Imagen 7" descr="F:\Recorrido abril 2015\IMG_9747.JPG"/>
          <p:cNvPicPr/>
          <p:nvPr/>
        </p:nvPicPr>
        <p:blipFill>
          <a:blip r:embed="rId7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325" y="3344944"/>
            <a:ext cx="2726118" cy="174057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8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0950" y="3368554"/>
            <a:ext cx="2829778" cy="1693352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9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325" y="1098599"/>
            <a:ext cx="2829778" cy="1860280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Imagen 11" descr="C:\Users\jrincon\AppData\Local\Microsoft\Windows\Temporary Internet Files\Content.Outlook\5XW34OU5\IMG-20160122-WA0003.jpg"/>
          <p:cNvPicPr/>
          <p:nvPr/>
        </p:nvPicPr>
        <p:blipFill>
          <a:blip r:embed="rId10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0950" y="1106304"/>
            <a:ext cx="2829778" cy="1936936"/>
          </a:xfrm>
          <a:prstGeom prst="rect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443" y="3146510"/>
            <a:ext cx="3087231" cy="18481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8443" y="1298362"/>
            <a:ext cx="3087231" cy="18481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n 8" descr="C:\Users\npaez\AppData\Local\Microsoft\Windows\Temporary Internet Files\Content.Outlook\4QPL8XUL\IMG-20151021-WA0002.jpg"/>
          <p:cNvPicPr/>
          <p:nvPr/>
        </p:nvPicPr>
        <p:blipFill>
          <a:blip r:embed="rId14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9334" y="4723799"/>
            <a:ext cx="5097101" cy="1586466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2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591" y="1113320"/>
            <a:ext cx="3998743" cy="5561887"/>
          </a:xfrm>
          <a:prstGeom prst="rect">
            <a:avLst/>
          </a:prstGeom>
        </p:spPr>
      </p:pic>
      <p:sp>
        <p:nvSpPr>
          <p:cNvPr id="11" name="CuadroTexto 10"/>
          <p:cNvSpPr txBox="1"/>
          <p:nvPr/>
        </p:nvSpPr>
        <p:spPr>
          <a:xfrm>
            <a:off x="5643386" y="4626413"/>
            <a:ext cx="1140056" cy="246221"/>
          </a:xfrm>
          <a:prstGeom prst="rect">
            <a:avLst/>
          </a:prstGeom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>
                <a:solidFill>
                  <a:srgbClr val="FF0000"/>
                </a:solidFill>
              </a:rPr>
              <a:t>Bogotá - Belencito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4317517" y="3501568"/>
            <a:ext cx="1217000" cy="246221"/>
          </a:xfrm>
          <a:prstGeom prst="rect">
            <a:avLst/>
          </a:prstGeom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>
                <a:solidFill>
                  <a:srgbClr val="FF0000"/>
                </a:solidFill>
              </a:rPr>
              <a:t>Dorada - Chiriguaná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5524785" y="2371395"/>
            <a:ext cx="1502334" cy="246221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CO" sz="1000" dirty="0">
                <a:solidFill>
                  <a:schemeClr val="accent6">
                    <a:lumMod val="75000"/>
                  </a:schemeClr>
                </a:solidFill>
              </a:rPr>
              <a:t>Chiriguaná – Santa Marta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1784648" y="6444375"/>
            <a:ext cx="1972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900" dirty="0"/>
              <a:t>Mapa fuente: Herramienta ANI mapas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2619806" y="5109286"/>
            <a:ext cx="1454244" cy="40011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s-CO" sz="1000" dirty="0">
                <a:solidFill>
                  <a:schemeClr val="accent6">
                    <a:lumMod val="75000"/>
                  </a:schemeClr>
                </a:solidFill>
              </a:rPr>
              <a:t>Buenaventura – Tebaida</a:t>
            </a:r>
          </a:p>
          <a:p>
            <a:pPr algn="ctr"/>
            <a:r>
              <a:rPr lang="es-CO" sz="1000" dirty="0">
                <a:solidFill>
                  <a:schemeClr val="accent6">
                    <a:lumMod val="75000"/>
                  </a:schemeClr>
                </a:solidFill>
              </a:rPr>
              <a:t>- Zaragoza</a:t>
            </a:r>
          </a:p>
        </p:txBody>
      </p:sp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2457049" y="405434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3211295" y="1530512"/>
            <a:ext cx="5102200" cy="921600"/>
            <a:chOff x="0" y="153170"/>
            <a:chExt cx="5102200" cy="921600"/>
          </a:xfrm>
        </p:grpSpPr>
        <p:sp>
          <p:nvSpPr>
            <p:cNvPr id="19" name="Rectángulo 18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ángulo 19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Nuestras Metas 2015</a:t>
              </a:r>
            </a:p>
          </p:txBody>
        </p:sp>
      </p:grpSp>
      <p:graphicFrame>
        <p:nvGraphicFramePr>
          <p:cNvPr id="23" name="Diagrama 22"/>
          <p:cNvGraphicFramePr/>
          <p:nvPr>
            <p:extLst>
              <p:ext uri="{D42A27DB-BD31-4B8C-83A1-F6EECF244321}">
                <p14:modId xmlns:p14="http://schemas.microsoft.com/office/powerpoint/2010/main" val="3314577482"/>
              </p:ext>
            </p:extLst>
          </p:nvPr>
        </p:nvGraphicFramePr>
        <p:xfrm>
          <a:off x="3282875" y="2898664"/>
          <a:ext cx="5040560" cy="2746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788381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19" name="CuadroTexto 18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PACÍFICO</a:t>
            </a: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698444"/>
              </p:ext>
            </p:extLst>
          </p:nvPr>
        </p:nvGraphicFramePr>
        <p:xfrm>
          <a:off x="1949550" y="1192870"/>
          <a:ext cx="6375888" cy="4484370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63758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59616">
                <a:tc>
                  <a:txBody>
                    <a:bodyPr/>
                    <a:lstStyle/>
                    <a:p>
                      <a:pPr algn="ctr" fontAlgn="b"/>
                      <a:endParaRPr lang="es-CO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02684">
                <a:tc>
                  <a:txBody>
                    <a:bodyPr/>
                    <a:lstStyle/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endParaRPr lang="es-CO" sz="1100" b="1" u="none" strike="noStrike" dirty="0">
                        <a:effectLst/>
                      </a:endParaRPr>
                    </a:p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ras Mantenimiento y Conservación de vía.</a:t>
                      </a:r>
                    </a:p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s-CO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Soluciones definitivas a los problemas de manejo de aguas lluvias</a:t>
                      </a:r>
                    </a:p>
                    <a:p>
                      <a:pPr marL="0" indent="0" algn="l" defTabSz="914400" rtl="0" eaLnBrk="1" fontAlgn="b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ras contrato Fondo Adaptación</a:t>
                      </a:r>
                    </a:p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s-CO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Soluciones definitivas a los puntos críticos Ocasionados por la Ola Invernal 2010-2011</a:t>
                      </a:r>
                      <a:endParaRPr lang="es-CO" sz="11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s-ES_tradnl" sz="11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Museo Sans 500"/>
                        </a:rPr>
                        <a:t>Avances Físicos Plan de Normalización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Construcción Tornamesa Buenaventura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Mejoras Señalización</a:t>
                      </a: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Train </a:t>
                      </a:r>
                      <a:r>
                        <a:rPr lang="es-ES_tradnl" altLang="zh-CN" sz="1100" dirty="0" err="1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Alert</a:t>
                      </a: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 </a:t>
                      </a:r>
                      <a:r>
                        <a:rPr lang="es-ES_tradnl" altLang="zh-CN" sz="1100" dirty="0" err="1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Warning</a:t>
                      </a: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 </a:t>
                      </a:r>
                      <a:r>
                        <a:rPr lang="es-ES_tradnl" altLang="zh-CN" sz="1100" dirty="0" err="1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System</a:t>
                      </a:r>
                      <a:endParaRPr lang="es-ES_tradnl" altLang="zh-CN" sz="1100" dirty="0">
                        <a:latin typeface="Candara" pitchFamily="34" charset="0"/>
                        <a:ea typeface="SimSun" pitchFamily="2" charset="-122"/>
                        <a:sym typeface="Museo Sans 500"/>
                      </a:endParaRPr>
                    </a:p>
                    <a:p>
                      <a:pPr marL="171450" marR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altLang="zh-CN" sz="1100" dirty="0">
                          <a:latin typeface="Candara" pitchFamily="34" charset="0"/>
                          <a:ea typeface="SimSun" pitchFamily="2" charset="-122"/>
                          <a:sym typeface="Museo Sans 500"/>
                        </a:rPr>
                        <a:t>Automatización Pasos a Nivel</a:t>
                      </a:r>
                    </a:p>
                    <a:p>
                      <a:pPr marL="0" indent="0" algn="l" fontAlgn="b">
                        <a:buFont typeface="Arial" panose="020B0604020202020204" pitchFamily="34" charset="0"/>
                        <a:buNone/>
                      </a:pPr>
                      <a:r>
                        <a:rPr lang="es-CO" sz="1100" b="1" u="none" strike="noStrike" dirty="0">
                          <a:effectLst/>
                        </a:rPr>
                        <a:t>Material Rodante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Conversión de 15 carros caja a plataforma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de carro motor 618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Montaje de twist-</a:t>
                      </a:r>
                      <a:r>
                        <a:rPr lang="es-CO" sz="1100" kern="1200" dirty="0" err="1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locks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 en 30 plataformas concesionadas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paración del segundo coche de pasajeros.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Grúa 7779 ejecuta trabajos de apoyo en descargue de maíz, </a:t>
                      </a:r>
                      <a:r>
                        <a:rPr lang="es-CO" sz="1100" kern="1200" dirty="0" err="1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encarrilamientos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Grúa 14 rehabilitada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Obras de extensión de Cárcamo y construcción de nueva PETAR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Obras de mejoramiento de almacén, área de mantenimiento de plataformas, muro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 err="1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Comisionamiento</a:t>
                      </a: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 R22 – en curso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U601 – en curso. Montaje de equipos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ehabilitación U1204 – reparación de planchón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Pruebas de potencia de locomotoras con nuevo equipo de prueba (load box), se realiza en todas las intervenciones programadas de 12.000 km y 60.000 km. 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s-CO" sz="1100" kern="1200" dirty="0">
                          <a:solidFill>
                            <a:schemeClr val="tx1"/>
                          </a:solidFill>
                          <a:latin typeface="Candara" pitchFamily="34" charset="0"/>
                          <a:ea typeface="SimSun" pitchFamily="2" charset="-122"/>
                          <a:cs typeface="+mn-cs"/>
                        </a:rPr>
                        <a:t>R22 en operación Baja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4" name="CuadroTexto 3"/>
          <p:cNvSpPr txBox="1"/>
          <p:nvPr/>
        </p:nvSpPr>
        <p:spPr>
          <a:xfrm>
            <a:off x="1924638" y="1192870"/>
            <a:ext cx="64008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</a:rPr>
              <a:t>ACTIVIDADES DESTACADAS 2015</a:t>
            </a:r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4379" y="2470949"/>
            <a:ext cx="2489787" cy="140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82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9715" y="1665279"/>
            <a:ext cx="7043608" cy="4524085"/>
          </a:xfrm>
          <a:prstGeom prst="rect">
            <a:avLst/>
          </a:prstGeom>
        </p:spPr>
      </p:pic>
      <p:sp>
        <p:nvSpPr>
          <p:cNvPr id="15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55500" y="1225217"/>
            <a:ext cx="58244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b="1" dirty="0">
                <a:latin typeface="Candara" panose="020E0502030303020204" pitchFamily="34" charset="0"/>
                <a:ea typeface="SimSun" pitchFamily="2" charset="-122"/>
                <a:sym typeface="Museo Sans 500"/>
              </a:rPr>
              <a:t>Inversiones del Concesionario dentro del Plan de Normalización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PACÍFICO</a:t>
            </a:r>
          </a:p>
        </p:txBody>
      </p:sp>
    </p:spTree>
    <p:extLst>
      <p:ext uri="{BB962C8B-B14F-4D97-AF65-F5344CB8AC3E}">
        <p14:creationId xmlns:p14="http://schemas.microsoft.com/office/powerpoint/2010/main" val="2808166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44704" y="1501832"/>
            <a:ext cx="52128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>
                <a:latin typeface="Candara" pitchFamily="34" charset="0"/>
                <a:ea typeface="SimSun" pitchFamily="2" charset="-122"/>
                <a:sym typeface="Museo Sans 500"/>
              </a:rPr>
              <a:t>Mejoras Señalización</a:t>
            </a:r>
          </a:p>
        </p:txBody>
      </p:sp>
      <p:sp>
        <p:nvSpPr>
          <p:cNvPr id="7" name="Rectángulo 6"/>
          <p:cNvSpPr/>
          <p:nvPr/>
        </p:nvSpPr>
        <p:spPr>
          <a:xfrm>
            <a:off x="1899101" y="1835383"/>
            <a:ext cx="258648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1200" dirty="0"/>
              <a:t>Rolling Stock: US$500.000 por invertir:</a:t>
            </a:r>
          </a:p>
          <a:p>
            <a:pPr algn="just"/>
            <a:r>
              <a:rPr lang="es-CO" sz="1200" dirty="0"/>
              <a:t>Continuación de ejecución de la fabricación e instalación de Pasos a Nivel Automáticos en la Zona Norte,</a:t>
            </a:r>
          </a:p>
          <a:p>
            <a:pPr algn="just"/>
            <a:r>
              <a:rPr lang="es-CO" sz="1200" dirty="0"/>
              <a:t>inicio de negociación de los siguientes 8 Pasos a Nivel y terminar los proyectos de señalización de la vía</a:t>
            </a:r>
          </a:p>
          <a:p>
            <a:pPr algn="just"/>
            <a:r>
              <a:rPr lang="es-CO" sz="1200" dirty="0"/>
              <a:t>principal.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699048" y="665833"/>
            <a:ext cx="6444952" cy="748669"/>
          </a:xfrm>
        </p:spPr>
        <p:txBody>
          <a:bodyPr/>
          <a:lstStyle/>
          <a:p>
            <a:r>
              <a:rPr lang="es-ES_tradnl" dirty="0">
                <a:sym typeface="Museo Sans 500"/>
              </a:rPr>
              <a:t>Avances Físicos Plan de Normalización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1189" y="1533377"/>
            <a:ext cx="2116574" cy="1587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McK 3. Unit of measur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05588" y="3312597"/>
            <a:ext cx="34734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>
                <a:latin typeface="Candara" pitchFamily="34" charset="0"/>
                <a:ea typeface="SimSun" pitchFamily="2" charset="-122"/>
                <a:sym typeface="Museo Sans 500"/>
              </a:rPr>
              <a:t>Train Alert Warning System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4651131" y="3576702"/>
            <a:ext cx="3727940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050" dirty="0"/>
              <a:t>Proyecto TAWS</a:t>
            </a:r>
          </a:p>
          <a:p>
            <a:pPr algn="just"/>
            <a:r>
              <a:rPr lang="es-CO" sz="1050" dirty="0"/>
              <a:t>El promedio de ejecución a la fecha es de 100% respecto al cronograma.</a:t>
            </a:r>
          </a:p>
          <a:p>
            <a:r>
              <a:rPr lang="es-CO" sz="1050" dirty="0"/>
              <a:t>Se han instalado a la fecha 34/34 TAWS.</a:t>
            </a:r>
          </a:p>
          <a:p>
            <a:pPr algn="just"/>
            <a:r>
              <a:rPr lang="es-CO" sz="1050" dirty="0"/>
              <a:t>Se terminan recorridos de mejoramiento para los TAWS (cambio de antenas externas para los TAWS que necesitaban, nuevo software, entre otros) y se  realizan pruebas, siendo estas satisfactorias.</a:t>
            </a:r>
          </a:p>
          <a:p>
            <a:r>
              <a:rPr lang="es-CO" sz="1050" dirty="0"/>
              <a:t>Se realizan visitas a los diferentes TAWS en compañía del área de Comunidades para evaluar el impacto de estos equipos en estos lugares. La gente manifiesta conformidad con este sistema y pide que se modifiquen los escenarios de activación de las luces y alarmas para que tengan más tiempo de aviso.</a:t>
            </a:r>
          </a:p>
          <a:p>
            <a:r>
              <a:rPr lang="es-CO" sz="1050" dirty="0"/>
              <a:t>Existe un poste ubicado en la zona de San Cipriano (PK27) que será reubicado porque NO tiene muy buena recepción de luz solar y las comunidades manifiestan que en este punto NO genera mayor impacto.</a:t>
            </a:r>
          </a:p>
        </p:txBody>
      </p:sp>
      <p:pic>
        <p:nvPicPr>
          <p:cNvPr id="12" name="14 Imagen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91" r="50519" b="16745"/>
          <a:stretch/>
        </p:blipFill>
        <p:spPr bwMode="auto">
          <a:xfrm>
            <a:off x="2100820" y="4162451"/>
            <a:ext cx="2384770" cy="18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lecha doblada 1"/>
          <p:cNvSpPr/>
          <p:nvPr/>
        </p:nvSpPr>
        <p:spPr>
          <a:xfrm>
            <a:off x="3886200" y="3312597"/>
            <a:ext cx="914400" cy="714280"/>
          </a:xfrm>
          <a:prstGeom prst="bentArrow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3" name="Flecha abajo 2"/>
          <p:cNvSpPr/>
          <p:nvPr/>
        </p:nvSpPr>
        <p:spPr>
          <a:xfrm rot="5400000">
            <a:off x="4655578" y="2135481"/>
            <a:ext cx="618435" cy="627329"/>
          </a:xfrm>
          <a:prstGeom prst="downArrow">
            <a:avLst/>
          </a:prstGeom>
          <a:solidFill>
            <a:schemeClr val="accent5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PACÍFICO</a:t>
            </a:r>
          </a:p>
        </p:txBody>
      </p:sp>
    </p:spTree>
    <p:extLst>
      <p:ext uri="{BB962C8B-B14F-4D97-AF65-F5344CB8AC3E}">
        <p14:creationId xmlns:p14="http://schemas.microsoft.com/office/powerpoint/2010/main" val="2103125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2457049" y="332282"/>
            <a:ext cx="552285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</a:t>
            </a:r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Férre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8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-15552" y="12111"/>
            <a:ext cx="1800200" cy="6845889"/>
          </a:xfrm>
          <a:prstGeom prst="rect">
            <a:avLst/>
          </a:prstGeom>
          <a:noFill/>
        </p:spPr>
      </p:pic>
      <p:sp>
        <p:nvSpPr>
          <p:cNvPr id="6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44704" y="1501832"/>
            <a:ext cx="68179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_tradnl" altLang="zh-CN" sz="1600" dirty="0">
                <a:latin typeface="Candara" pitchFamily="34" charset="0"/>
                <a:ea typeface="SimSun" pitchFamily="2" charset="-122"/>
                <a:sym typeface="Museo Sans 500"/>
              </a:rPr>
              <a:t>Centro de Entrenamiento y Formación de Operadores – Cali (Valle del C auca)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699048" y="665833"/>
            <a:ext cx="6444952" cy="748669"/>
          </a:xfrm>
        </p:spPr>
        <p:txBody>
          <a:bodyPr/>
          <a:lstStyle/>
          <a:p>
            <a:r>
              <a:rPr lang="es-ES_tradnl" dirty="0">
                <a:sym typeface="Museo Sans 500"/>
              </a:rPr>
              <a:t>Avances Físicos Plan de Normalización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1924638" y="147616"/>
            <a:ext cx="2833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>
                <a:latin typeface="Candara" panose="020E0502030303020204" pitchFamily="34" charset="0"/>
              </a:rPr>
              <a:t>RED FÉRREA DEL PACÍFICO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534" y="4045076"/>
            <a:ext cx="3061195" cy="204079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587" y="4045076"/>
            <a:ext cx="3058279" cy="2038853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587" y="1876166"/>
            <a:ext cx="3061195" cy="2040797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6534" y="1876166"/>
            <a:ext cx="3061195" cy="204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128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6b2_YsUClkzYMS0Ec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flju56HB0GvcIAw.J8.t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66b2_YsUClkzYMS0Ec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CDqDLnUKKaWj8jgUr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Zw5OffkWAiHIb.7Hy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3356</TotalTime>
  <Words>2015</Words>
  <Application>Microsoft Office PowerPoint</Application>
  <PresentationFormat>Presentación en pantalla (4:3)</PresentationFormat>
  <Paragraphs>360</Paragraphs>
  <Slides>27</Slides>
  <Notes>24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9" baseType="lpstr">
      <vt:lpstr>MS PGothic</vt:lpstr>
      <vt:lpstr>SimSun</vt:lpstr>
      <vt:lpstr>Arial</vt:lpstr>
      <vt:lpstr>Calibri</vt:lpstr>
      <vt:lpstr>Candara</vt:lpstr>
      <vt:lpstr>Helvetica Neue Bold Condensed</vt:lpstr>
      <vt:lpstr>Impact</vt:lpstr>
      <vt:lpstr>Museo Sans 500</vt:lpstr>
      <vt:lpstr>Times New Roman</vt:lpstr>
      <vt:lpstr>Wingdings</vt:lpstr>
      <vt:lpstr>plantilla ANI</vt:lpstr>
      <vt:lpstr>think-cell Slide</vt:lpstr>
      <vt:lpstr>Avances Modo Férre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vances Físicos Plan de Normalización</vt:lpstr>
      <vt:lpstr>Avances Físicos Plan de Normaliz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Samir Eduardo Espitia Angulo</cp:lastModifiedBy>
  <cp:revision>95</cp:revision>
  <dcterms:created xsi:type="dcterms:W3CDTF">2015-06-23T21:46:26Z</dcterms:created>
  <dcterms:modified xsi:type="dcterms:W3CDTF">2016-09-20T16:16:22Z</dcterms:modified>
</cp:coreProperties>
</file>